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4"/>
  </p:sldMasterIdLst>
  <p:notesMasterIdLst>
    <p:notesMasterId r:id="rId10"/>
  </p:notesMasterIdLst>
  <p:handoutMasterIdLst>
    <p:handoutMasterId r:id="rId11"/>
  </p:handoutMasterIdLst>
  <p:sldIdLst>
    <p:sldId id="259" r:id="rId5"/>
    <p:sldId id="2147477603" r:id="rId6"/>
    <p:sldId id="2147473166" r:id="rId7"/>
    <p:sldId id="2147473167" r:id="rId8"/>
    <p:sldId id="2147473169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7FCB97-FBF2-493D-8E3F-0405C0F140EB}" v="1800" dt="2025-10-09T16:04:22.251"/>
    <p1510:client id="{F3889007-1A75-4003-8F2C-BFCE453F28AE}" v="768" dt="2025-10-09T15:23:25.2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582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163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456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423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69129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3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slide" Target="slide4.xml"/><Relationship Id="rId3" Type="http://schemas.openxmlformats.org/officeDocument/2006/relationships/notesSlide" Target="../notesSlides/notesSlide2.xml"/><Relationship Id="rId7" Type="http://schemas.openxmlformats.org/officeDocument/2006/relationships/slide" Target="slide5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6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60.png"/><Relationship Id="rId5" Type="http://schemas.openxmlformats.org/officeDocument/2006/relationships/image" Target="../media/image3.emf"/><Relationship Id="rId15" Type="http://schemas.openxmlformats.org/officeDocument/2006/relationships/hyperlink" Target="https://server.think-cell.com/portal/en/trial.srf?utm_source=think-cell&amp;utm_medium=templates&amp;utm_campaign=template-en-funnel-102025&amp;utm_term=funnel-102025&amp;utm_content=funnel-102025" TargetMode="External"/><Relationship Id="rId10" Type="http://schemas.openxmlformats.org/officeDocument/2006/relationships/slide" Target="slide3.xml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Relationship Id="rId1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10.svg"/><Relationship Id="rId3" Type="http://schemas.openxmlformats.org/officeDocument/2006/relationships/tags" Target="../tags/tag10.xml"/><Relationship Id="rId21" Type="http://schemas.openxmlformats.org/officeDocument/2006/relationships/image" Target="../media/image13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image" Target="../media/image9.png"/><Relationship Id="rId2" Type="http://schemas.openxmlformats.org/officeDocument/2006/relationships/tags" Target="../tags/tag9.xml"/><Relationship Id="rId16" Type="http://schemas.openxmlformats.org/officeDocument/2006/relationships/image" Target="../media/image8.emf"/><Relationship Id="rId20" Type="http://schemas.openxmlformats.org/officeDocument/2006/relationships/image" Target="../media/image12.sv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6.svg"/><Relationship Id="rId5" Type="http://schemas.openxmlformats.org/officeDocument/2006/relationships/tags" Target="../tags/tag12.xml"/><Relationship Id="rId15" Type="http://schemas.openxmlformats.org/officeDocument/2006/relationships/oleObject" Target="../embeddings/oleObject7.bin"/><Relationship Id="rId23" Type="http://schemas.openxmlformats.org/officeDocument/2006/relationships/image" Target="../media/image15.png"/><Relationship Id="rId10" Type="http://schemas.openxmlformats.org/officeDocument/2006/relationships/tags" Target="../tags/tag17.xml"/><Relationship Id="rId19" Type="http://schemas.openxmlformats.org/officeDocument/2006/relationships/image" Target="../media/image11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3.xml"/><Relationship Id="rId22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86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0" y="2949321"/>
            <a:ext cx="8137525" cy="609398"/>
          </a:xfrm>
        </p:spPr>
        <p:txBody>
          <a:bodyPr vert="horz" wrap="square" rIns="0">
            <a:spAutoFit/>
          </a:bodyPr>
          <a:lstStyle/>
          <a:p>
            <a:r>
              <a:rPr lang="en-US" noProof="0"/>
              <a:t>Funnel chart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/>
              <a:t>Create professional slides faster</a:t>
            </a:r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ink-cell | 2025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5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Slide Zoom 24">
                <a:extLst>
                  <a:ext uri="{FF2B5EF4-FFF2-40B4-BE49-F238E27FC236}">
                    <a16:creationId xmlns:a16="http://schemas.microsoft.com/office/drawing/2014/main" id="{82ABEEAD-5998-20E5-2DB3-0054E7AD1CF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47113070"/>
                  </p:ext>
                </p:extLst>
              </p:nvPr>
            </p:nvGraphicFramePr>
            <p:xfrm>
              <a:off x="6268454" y="4844700"/>
              <a:ext cx="2156800" cy="1213200"/>
            </p:xfrm>
            <a:graphic>
              <a:graphicData uri="http://schemas.microsoft.com/office/powerpoint/2016/slidezoom">
                <pslz:sldZm>
                  <pslz:sldZmObj sldId="2147473169" cId="1610971351">
                    <pslz:zmPr id="{434AF6F0-27A6-4014-89BA-CABF3F824FCC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Slide Zoom 24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82ABEEAD-5998-20E5-2DB3-0054E7AD1CF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268454" y="484470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7" name="Slide Zoom 16">
                <a:extLst>
                  <a:ext uri="{FF2B5EF4-FFF2-40B4-BE49-F238E27FC236}">
                    <a16:creationId xmlns:a16="http://schemas.microsoft.com/office/drawing/2014/main" id="{E2566E3B-7922-EB23-B6B1-E90CD93ABC2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58949159"/>
                  </p:ext>
                </p:extLst>
              </p:nvPr>
            </p:nvGraphicFramePr>
            <p:xfrm>
              <a:off x="6268454" y="1972310"/>
              <a:ext cx="2156800" cy="1213200"/>
            </p:xfrm>
            <a:graphic>
              <a:graphicData uri="http://schemas.microsoft.com/office/powerpoint/2016/slidezoom">
                <pslz:sldZm>
                  <pslz:sldZmObj sldId="2147473166" cId="3753416018">
                    <pslz:zmPr id="{5A813A4A-6991-4A6E-936B-40BA149C0B9B}" returnToParent="0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7" name="Slide Zoom 16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E2566E3B-7922-EB23-B6B1-E90CD93ABC2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268454" y="197231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1" name="Slide Zoom 20">
                <a:extLst>
                  <a:ext uri="{FF2B5EF4-FFF2-40B4-BE49-F238E27FC236}">
                    <a16:creationId xmlns:a16="http://schemas.microsoft.com/office/drawing/2014/main" id="{E9B49375-9371-8617-5E86-03842163E5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68601902"/>
                  </p:ext>
                </p:extLst>
              </p:nvPr>
            </p:nvGraphicFramePr>
            <p:xfrm>
              <a:off x="6268454" y="3408505"/>
              <a:ext cx="2156800" cy="1213200"/>
            </p:xfrm>
            <a:graphic>
              <a:graphicData uri="http://schemas.microsoft.com/office/powerpoint/2016/slidezoom">
                <pslz:sldZm>
                  <pslz:sldZmObj sldId="2147473167" cId="4205195652">
                    <pslz:zmPr id="{85701B37-7FAC-41BA-8C5B-5408FBD7ECFE}" returnToParent="0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1" name="Slide Zoom 20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E9B49375-9371-8617-5E86-03842163E5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268454" y="3408505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 rIns="0">
            <a:spAutoFit/>
          </a:bodyPr>
          <a:lstStyle/>
          <a:p>
            <a:r>
              <a:rPr lang="en-US" noProof="0"/>
              <a:t>You can use think-cell to update your funnel chart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How to use and adapt a funnel chart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funnel chart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/>
              <a:t>Use your brand colors for texts and elements at different levels, such as headlines, copy, and backgrounds. </a:t>
            </a:r>
          </a:p>
          <a:p>
            <a:pPr marL="0" indent="0">
              <a:buNone/>
            </a:pPr>
            <a:endParaRPr lang="en-US" b="1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  <a:latin typeface="Arial" panose="020B0604020202020204" pitchFamily="34" charset="0"/>
              </a:rPr>
              <a:t>Populate the funnel chart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/>
              <a:t>Add the names and descriptions of your funnel phases. If necessary, add or remove phases to get the right number.</a:t>
            </a:r>
          </a:p>
          <a:p>
            <a:pPr marL="0" lvl="1" indent="0">
              <a:buNone/>
            </a:pPr>
            <a:endParaRPr lang="en-US"/>
          </a:p>
          <a:p>
            <a:pPr marL="0" indent="0">
              <a:buNone/>
            </a:pPr>
            <a:r>
              <a:rPr lang="en-US" b="1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/>
              <a:t>Try for 30 days, no credit card required and no cancellation necessary.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625388-B918-2961-2E6F-CA83479F4C0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hlinkClick r:id="rId15" highlightClick="1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6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15" highlightClick="1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82FE252-DD60-548B-7F79-4F77AEA9171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368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9" imgH="349" progId="TCLayout.ActiveDocument.1">
                  <p:embed/>
                </p:oleObj>
              </mc:Choice>
              <mc:Fallback>
                <p:oleObj name="think-cell Slide" r:id="rId15" imgW="349" imgH="349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FE252-DD60-548B-7F79-4F77AEA91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/>
              <a:t>Funnel, illustrative, four phases</a:t>
            </a:r>
          </a:p>
        </p:txBody>
      </p:sp>
      <p:grpSp>
        <p:nvGrpSpPr>
          <p:cNvPr id="2" name="Gruppieren 41">
            <a:extLst>
              <a:ext uri="{FF2B5EF4-FFF2-40B4-BE49-F238E27FC236}">
                <a16:creationId xmlns:a16="http://schemas.microsoft.com/office/drawing/2014/main" id="{033E6FBD-D4D7-3B86-55B0-A8FEDBE27F3E}"/>
              </a:ext>
            </a:extLst>
          </p:cNvPr>
          <p:cNvGrpSpPr>
            <a:grpSpLocks/>
          </p:cNvGrpSpPr>
          <p:nvPr/>
        </p:nvGrpSpPr>
        <p:grpSpPr>
          <a:xfrm>
            <a:off x="1413832" y="2270260"/>
            <a:ext cx="2833372" cy="673305"/>
            <a:chOff x="1101249" y="1981108"/>
            <a:chExt cx="2895398" cy="688045"/>
          </a:xfrm>
        </p:grpSpPr>
        <p:sp>
          <p:nvSpPr>
            <p:cNvPr id="3" name="TextBox 17">
              <a:extLst>
                <a:ext uri="{FF2B5EF4-FFF2-40B4-BE49-F238E27FC236}">
                  <a16:creationId xmlns:a16="http://schemas.microsoft.com/office/drawing/2014/main" id="{A80EA349-36C8-72B9-C542-41C9B7915B37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4" name="Subtitle 2">
              <a:extLst>
                <a:ext uri="{FF2B5EF4-FFF2-40B4-BE49-F238E27FC236}">
                  <a16:creationId xmlns:a16="http://schemas.microsoft.com/office/drawing/2014/main" id="{18385E52-A066-7852-58C8-3B253E86A668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01249" y="2228833"/>
              <a:ext cx="2895398" cy="4403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dipisici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eli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sed</a:t>
              </a:r>
            </a:p>
          </p:txBody>
        </p:sp>
      </p:grpSp>
      <p:grpSp>
        <p:nvGrpSpPr>
          <p:cNvPr id="6" name="Gruppieren 40">
            <a:extLst>
              <a:ext uri="{FF2B5EF4-FFF2-40B4-BE49-F238E27FC236}">
                <a16:creationId xmlns:a16="http://schemas.microsoft.com/office/drawing/2014/main" id="{99E1ACA3-D686-BE88-CC11-70877B7E6942}"/>
              </a:ext>
            </a:extLst>
          </p:cNvPr>
          <p:cNvGrpSpPr>
            <a:grpSpLocks/>
          </p:cNvGrpSpPr>
          <p:nvPr/>
        </p:nvGrpSpPr>
        <p:grpSpPr>
          <a:xfrm>
            <a:off x="1413832" y="3308023"/>
            <a:ext cx="2833372" cy="673305"/>
            <a:chOff x="1101249" y="2865810"/>
            <a:chExt cx="2895398" cy="688045"/>
          </a:xfrm>
        </p:grpSpPr>
        <p:sp>
          <p:nvSpPr>
            <p:cNvPr id="7" name="TextBox 19">
              <a:extLst>
                <a:ext uri="{FF2B5EF4-FFF2-40B4-BE49-F238E27FC236}">
                  <a16:creationId xmlns:a16="http://schemas.microsoft.com/office/drawing/2014/main" id="{BE95A74E-80B5-DA8F-C1C9-760858D32217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101249" y="2865810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9" name="Subtitle 2">
              <a:extLst>
                <a:ext uri="{FF2B5EF4-FFF2-40B4-BE49-F238E27FC236}">
                  <a16:creationId xmlns:a16="http://schemas.microsoft.com/office/drawing/2014/main" id="{8B87CF97-7597-B0F5-3DD7-AF81AAF4F3D7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101249" y="3113535"/>
              <a:ext cx="2895398" cy="4403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dipisici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eli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sed</a:t>
              </a:r>
            </a:p>
          </p:txBody>
        </p:sp>
      </p:grpSp>
      <p:grpSp>
        <p:nvGrpSpPr>
          <p:cNvPr id="11" name="Gruppieren 42">
            <a:extLst>
              <a:ext uri="{FF2B5EF4-FFF2-40B4-BE49-F238E27FC236}">
                <a16:creationId xmlns:a16="http://schemas.microsoft.com/office/drawing/2014/main" id="{F0DFEC50-D728-3096-A918-69ED0C9CA774}"/>
              </a:ext>
            </a:extLst>
          </p:cNvPr>
          <p:cNvGrpSpPr>
            <a:grpSpLocks/>
          </p:cNvGrpSpPr>
          <p:nvPr/>
        </p:nvGrpSpPr>
        <p:grpSpPr>
          <a:xfrm>
            <a:off x="1413832" y="4345786"/>
            <a:ext cx="2833372" cy="673305"/>
            <a:chOff x="1101249" y="3991568"/>
            <a:chExt cx="2895398" cy="688045"/>
          </a:xfrm>
        </p:grpSpPr>
        <p:sp>
          <p:nvSpPr>
            <p:cNvPr id="12" name="TextBox 21">
              <a:extLst>
                <a:ext uri="{FF2B5EF4-FFF2-40B4-BE49-F238E27FC236}">
                  <a16:creationId xmlns:a16="http://schemas.microsoft.com/office/drawing/2014/main" id="{33630B64-D632-EA32-F8F9-A53503924F9F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01249" y="399156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13" name="Subtitle 2">
              <a:extLst>
                <a:ext uri="{FF2B5EF4-FFF2-40B4-BE49-F238E27FC236}">
                  <a16:creationId xmlns:a16="http://schemas.microsoft.com/office/drawing/2014/main" id="{C18BDAA6-0F40-843B-89AF-E2C9F5E10E33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1249" y="4239293"/>
              <a:ext cx="2895398" cy="4403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dipisici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eli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se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162BD06-CEF0-C2D4-E7C6-812A4D922FBF}"/>
              </a:ext>
            </a:extLst>
          </p:cNvPr>
          <p:cNvGrpSpPr/>
          <p:nvPr/>
        </p:nvGrpSpPr>
        <p:grpSpPr>
          <a:xfrm>
            <a:off x="1413832" y="5383548"/>
            <a:ext cx="2833372" cy="673790"/>
            <a:chOff x="1413832" y="5379773"/>
            <a:chExt cx="2833372" cy="673790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6D9AE1C8-FB20-00E3-6640-C1571F8A426E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413832" y="5379773"/>
              <a:ext cx="2833372" cy="21544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</a:rPr>
                <a:t>Lorem Ipsum</a:t>
              </a:r>
            </a:p>
          </p:txBody>
        </p:sp>
        <p:sp>
          <p:nvSpPr>
            <p:cNvPr id="16" name="Subtitle 2">
              <a:extLst>
                <a:ext uri="{FF2B5EF4-FFF2-40B4-BE49-F238E27FC236}">
                  <a16:creationId xmlns:a16="http://schemas.microsoft.com/office/drawing/2014/main" id="{40B1BFE7-F8B8-990C-41B9-2EF419A8E0B9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413832" y="5622676"/>
              <a:ext cx="2833372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914400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adipisici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sz="1400" err="1">
                  <a:solidFill>
                    <a:schemeClr val="tx1"/>
                  </a:solidFill>
                  <a:latin typeface="+mn-lt"/>
                  <a:cs typeface="+mn-cs"/>
                </a:rPr>
                <a:t>elit</a:t>
              </a:r>
              <a:r>
                <a:rPr lang="en-US" sz="1400">
                  <a:solidFill>
                    <a:schemeClr val="tx1"/>
                  </a:solidFill>
                  <a:latin typeface="+mn-lt"/>
                  <a:cs typeface="+mn-cs"/>
                </a:rPr>
                <a:t>, sed</a:t>
              </a:r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A48BAC46-9E0B-C470-9B57-322988D6CDB6}"/>
              </a:ext>
            </a:extLst>
          </p:cNvPr>
          <p:cNvSpPr txBox="1">
            <a:spLocks/>
          </p:cNvSpPr>
          <p:nvPr/>
        </p:nvSpPr>
        <p:spPr>
          <a:xfrm>
            <a:off x="8305245" y="3648348"/>
            <a:ext cx="3358071" cy="36142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R="0" lvl="0" fontAlgn="auto"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400">
                <a:sym typeface="Futura"/>
              </a:rPr>
              <a:t>Lorem Ipsum</a:t>
            </a:r>
          </a:p>
        </p:txBody>
      </p:sp>
      <p:sp>
        <p:nvSpPr>
          <p:cNvPr id="18" name="Freeform 33">
            <a:extLst>
              <a:ext uri="{FF2B5EF4-FFF2-40B4-BE49-F238E27FC236}">
                <a16:creationId xmlns:a16="http://schemas.microsoft.com/office/drawing/2014/main" id="{A313A6FE-CFA5-A27E-11C1-210C08DAD51A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902522" y="3043422"/>
            <a:ext cx="2405766" cy="1182345"/>
          </a:xfrm>
          <a:custGeom>
            <a:avLst/>
            <a:gdLst>
              <a:gd name="T0" fmla="*/ 287 w 584"/>
              <a:gd name="T1" fmla="*/ 243 h 243"/>
              <a:gd name="T2" fmla="*/ 498 w 584"/>
              <a:gd name="T3" fmla="*/ 208 h 243"/>
              <a:gd name="T4" fmla="*/ 584 w 584"/>
              <a:gd name="T5" fmla="*/ 0 h 243"/>
              <a:gd name="T6" fmla="*/ 291 w 584"/>
              <a:gd name="T7" fmla="*/ 33 h 243"/>
              <a:gd name="T8" fmla="*/ 0 w 584"/>
              <a:gd name="T9" fmla="*/ 0 h 243"/>
              <a:gd name="T10" fmla="*/ 84 w 584"/>
              <a:gd name="T11" fmla="*/ 211 h 243"/>
              <a:gd name="T12" fmla="*/ 287 w 584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4" h="243">
                <a:moveTo>
                  <a:pt x="287" y="243"/>
                </a:moveTo>
                <a:cubicBezTo>
                  <a:pt x="379" y="243"/>
                  <a:pt x="458" y="229"/>
                  <a:pt x="498" y="208"/>
                </a:cubicBezTo>
                <a:cubicBezTo>
                  <a:pt x="519" y="141"/>
                  <a:pt x="547" y="71"/>
                  <a:pt x="584" y="0"/>
                </a:cubicBezTo>
                <a:cubicBezTo>
                  <a:pt x="526" y="19"/>
                  <a:pt x="417" y="33"/>
                  <a:pt x="291" y="33"/>
                </a:cubicBezTo>
                <a:cubicBezTo>
                  <a:pt x="167" y="33"/>
                  <a:pt x="59" y="20"/>
                  <a:pt x="0" y="0"/>
                </a:cubicBezTo>
                <a:cubicBezTo>
                  <a:pt x="29" y="60"/>
                  <a:pt x="59" y="130"/>
                  <a:pt x="84" y="211"/>
                </a:cubicBezTo>
                <a:cubicBezTo>
                  <a:pt x="125" y="231"/>
                  <a:pt x="201" y="243"/>
                  <a:pt x="287" y="243"/>
                </a:cubicBezTo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Freeform 34">
            <a:extLst>
              <a:ext uri="{FF2B5EF4-FFF2-40B4-BE49-F238E27FC236}">
                <a16:creationId xmlns:a16="http://schemas.microsoft.com/office/drawing/2014/main" id="{A3949B83-9404-D89E-A931-BDDD784E8E6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247342" y="4056721"/>
            <a:ext cx="1705827" cy="1167033"/>
          </a:xfrm>
          <a:custGeom>
            <a:avLst/>
            <a:gdLst>
              <a:gd name="T0" fmla="*/ 203 w 414"/>
              <a:gd name="T1" fmla="*/ 35 h 240"/>
              <a:gd name="T2" fmla="*/ 0 w 414"/>
              <a:gd name="T3" fmla="*/ 3 h 240"/>
              <a:gd name="T4" fmla="*/ 46 w 414"/>
              <a:gd name="T5" fmla="*/ 204 h 240"/>
              <a:gd name="T6" fmla="*/ 49 w 414"/>
              <a:gd name="T7" fmla="*/ 215 h 240"/>
              <a:gd name="T8" fmla="*/ 205 w 414"/>
              <a:gd name="T9" fmla="*/ 240 h 240"/>
              <a:gd name="T10" fmla="*/ 354 w 414"/>
              <a:gd name="T11" fmla="*/ 217 h 240"/>
              <a:gd name="T12" fmla="*/ 362 w 414"/>
              <a:gd name="T13" fmla="*/ 214 h 240"/>
              <a:gd name="T14" fmla="*/ 376 w 414"/>
              <a:gd name="T15" fmla="*/ 139 h 240"/>
              <a:gd name="T16" fmla="*/ 414 w 414"/>
              <a:gd name="T17" fmla="*/ 0 h 240"/>
              <a:gd name="T18" fmla="*/ 203 w 414"/>
              <a:gd name="T19" fmla="*/ 3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4" h="240">
                <a:moveTo>
                  <a:pt x="203" y="35"/>
                </a:moveTo>
                <a:cubicBezTo>
                  <a:pt x="117" y="35"/>
                  <a:pt x="41" y="23"/>
                  <a:pt x="0" y="3"/>
                </a:cubicBezTo>
                <a:cubicBezTo>
                  <a:pt x="18" y="64"/>
                  <a:pt x="35" y="131"/>
                  <a:pt x="46" y="204"/>
                </a:cubicBezTo>
                <a:cubicBezTo>
                  <a:pt x="47" y="208"/>
                  <a:pt x="48" y="211"/>
                  <a:pt x="49" y="215"/>
                </a:cubicBezTo>
                <a:cubicBezTo>
                  <a:pt x="85" y="230"/>
                  <a:pt x="142" y="240"/>
                  <a:pt x="205" y="240"/>
                </a:cubicBezTo>
                <a:cubicBezTo>
                  <a:pt x="264" y="240"/>
                  <a:pt x="317" y="231"/>
                  <a:pt x="354" y="217"/>
                </a:cubicBezTo>
                <a:cubicBezTo>
                  <a:pt x="357" y="216"/>
                  <a:pt x="359" y="215"/>
                  <a:pt x="362" y="214"/>
                </a:cubicBezTo>
                <a:cubicBezTo>
                  <a:pt x="366" y="190"/>
                  <a:pt x="371" y="165"/>
                  <a:pt x="376" y="139"/>
                </a:cubicBezTo>
                <a:cubicBezTo>
                  <a:pt x="386" y="96"/>
                  <a:pt x="398" y="49"/>
                  <a:pt x="414" y="0"/>
                </a:cubicBezTo>
                <a:cubicBezTo>
                  <a:pt x="374" y="21"/>
                  <a:pt x="295" y="35"/>
                  <a:pt x="203" y="35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5E74D1E2-70CF-66F9-32A9-24B7747283AA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255513" y="1557338"/>
            <a:ext cx="3718024" cy="1651254"/>
            <a:chOff x="3990355" y="1893606"/>
            <a:chExt cx="4208222" cy="1585475"/>
          </a:xfrm>
          <a:solidFill>
            <a:schemeClr val="bg2">
              <a:lumMod val="75000"/>
            </a:schemeClr>
          </a:solidFill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CA0E4D63-D793-5687-42E0-0F0EA6BD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355" y="1893606"/>
              <a:ext cx="4208222" cy="612542"/>
            </a:xfrm>
            <a:custGeom>
              <a:avLst/>
              <a:gdLst>
                <a:gd name="T0" fmla="*/ 452 w 903"/>
                <a:gd name="T1" fmla="*/ 0 h 131"/>
                <a:gd name="T2" fmla="*/ 0 w 903"/>
                <a:gd name="T3" fmla="*/ 65 h 131"/>
                <a:gd name="T4" fmla="*/ 11 w 903"/>
                <a:gd name="T5" fmla="*/ 80 h 131"/>
                <a:gd name="T6" fmla="*/ 452 w 903"/>
                <a:gd name="T7" fmla="*/ 131 h 131"/>
                <a:gd name="T8" fmla="*/ 686 w 903"/>
                <a:gd name="T9" fmla="*/ 121 h 131"/>
                <a:gd name="T10" fmla="*/ 686 w 903"/>
                <a:gd name="T11" fmla="*/ 121 h 131"/>
                <a:gd name="T12" fmla="*/ 753 w 903"/>
                <a:gd name="T13" fmla="*/ 114 h 131"/>
                <a:gd name="T14" fmla="*/ 753 w 903"/>
                <a:gd name="T15" fmla="*/ 114 h 131"/>
                <a:gd name="T16" fmla="*/ 760 w 903"/>
                <a:gd name="T17" fmla="*/ 113 h 131"/>
                <a:gd name="T18" fmla="*/ 761 w 903"/>
                <a:gd name="T19" fmla="*/ 113 h 131"/>
                <a:gd name="T20" fmla="*/ 768 w 903"/>
                <a:gd name="T21" fmla="*/ 112 h 131"/>
                <a:gd name="T22" fmla="*/ 768 w 903"/>
                <a:gd name="T23" fmla="*/ 112 h 131"/>
                <a:gd name="T24" fmla="*/ 775 w 903"/>
                <a:gd name="T25" fmla="*/ 111 h 131"/>
                <a:gd name="T26" fmla="*/ 776 w 903"/>
                <a:gd name="T27" fmla="*/ 111 h 131"/>
                <a:gd name="T28" fmla="*/ 783 w 903"/>
                <a:gd name="T29" fmla="*/ 110 h 131"/>
                <a:gd name="T30" fmla="*/ 783 w 903"/>
                <a:gd name="T31" fmla="*/ 110 h 131"/>
                <a:gd name="T32" fmla="*/ 893 w 903"/>
                <a:gd name="T33" fmla="*/ 80 h 131"/>
                <a:gd name="T34" fmla="*/ 903 w 903"/>
                <a:gd name="T35" fmla="*/ 65 h 131"/>
                <a:gd name="T36" fmla="*/ 452 w 903"/>
                <a:gd name="T3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3" h="131">
                  <a:moveTo>
                    <a:pt x="452" y="0"/>
                  </a:moveTo>
                  <a:cubicBezTo>
                    <a:pt x="203" y="0"/>
                    <a:pt x="0" y="29"/>
                    <a:pt x="0" y="65"/>
                  </a:cubicBezTo>
                  <a:cubicBezTo>
                    <a:pt x="0" y="70"/>
                    <a:pt x="4" y="75"/>
                    <a:pt x="11" y="80"/>
                  </a:cubicBezTo>
                  <a:cubicBezTo>
                    <a:pt x="56" y="109"/>
                    <a:pt x="236" y="131"/>
                    <a:pt x="452" y="131"/>
                  </a:cubicBezTo>
                  <a:cubicBezTo>
                    <a:pt x="538" y="131"/>
                    <a:pt x="618" y="127"/>
                    <a:pt x="686" y="121"/>
                  </a:cubicBezTo>
                  <a:cubicBezTo>
                    <a:pt x="686" y="121"/>
                    <a:pt x="686" y="121"/>
                    <a:pt x="686" y="121"/>
                  </a:cubicBezTo>
                  <a:cubicBezTo>
                    <a:pt x="710" y="119"/>
                    <a:pt x="732" y="117"/>
                    <a:pt x="753" y="114"/>
                  </a:cubicBezTo>
                  <a:cubicBezTo>
                    <a:pt x="753" y="114"/>
                    <a:pt x="753" y="114"/>
                    <a:pt x="753" y="114"/>
                  </a:cubicBezTo>
                  <a:cubicBezTo>
                    <a:pt x="756" y="114"/>
                    <a:pt x="758" y="114"/>
                    <a:pt x="760" y="113"/>
                  </a:cubicBezTo>
                  <a:cubicBezTo>
                    <a:pt x="761" y="113"/>
                    <a:pt x="761" y="113"/>
                    <a:pt x="761" y="113"/>
                  </a:cubicBezTo>
                  <a:cubicBezTo>
                    <a:pt x="763" y="113"/>
                    <a:pt x="766" y="113"/>
                    <a:pt x="768" y="112"/>
                  </a:cubicBezTo>
                  <a:cubicBezTo>
                    <a:pt x="768" y="112"/>
                    <a:pt x="768" y="112"/>
                    <a:pt x="768" y="112"/>
                  </a:cubicBezTo>
                  <a:cubicBezTo>
                    <a:pt x="771" y="112"/>
                    <a:pt x="773" y="111"/>
                    <a:pt x="775" y="111"/>
                  </a:cubicBezTo>
                  <a:cubicBezTo>
                    <a:pt x="776" y="111"/>
                    <a:pt x="776" y="111"/>
                    <a:pt x="776" y="111"/>
                  </a:cubicBezTo>
                  <a:cubicBezTo>
                    <a:pt x="778" y="111"/>
                    <a:pt x="780" y="110"/>
                    <a:pt x="783" y="110"/>
                  </a:cubicBezTo>
                  <a:cubicBezTo>
                    <a:pt x="783" y="110"/>
                    <a:pt x="783" y="110"/>
                    <a:pt x="783" y="110"/>
                  </a:cubicBezTo>
                  <a:cubicBezTo>
                    <a:pt x="836" y="102"/>
                    <a:pt x="875" y="91"/>
                    <a:pt x="893" y="80"/>
                  </a:cubicBezTo>
                  <a:cubicBezTo>
                    <a:pt x="900" y="75"/>
                    <a:pt x="903" y="70"/>
                    <a:pt x="903" y="65"/>
                  </a:cubicBezTo>
                  <a:cubicBezTo>
                    <a:pt x="903" y="29"/>
                    <a:pt x="701" y="0"/>
                    <a:pt x="452" y="0"/>
                  </a:cubicBezTo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2" name="Oval 32">
              <a:extLst>
                <a:ext uri="{FF2B5EF4-FFF2-40B4-BE49-F238E27FC236}">
                  <a16:creationId xmlns:a16="http://schemas.microsoft.com/office/drawing/2014/main" id="{7CAAB76B-7B5F-4713-82C1-7C553F945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31" y="2053551"/>
              <a:ext cx="2857153" cy="34139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F148FB96-7CE6-0256-9B39-FD84D3B2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625" y="2265431"/>
              <a:ext cx="4108687" cy="1213650"/>
            </a:xfrm>
            <a:custGeom>
              <a:avLst/>
              <a:gdLst>
                <a:gd name="T0" fmla="*/ 882 w 882"/>
                <a:gd name="T1" fmla="*/ 0 h 260"/>
                <a:gd name="T2" fmla="*/ 798 w 882"/>
                <a:gd name="T3" fmla="*/ 25 h 260"/>
                <a:gd name="T4" fmla="*/ 675 w 882"/>
                <a:gd name="T5" fmla="*/ 41 h 260"/>
                <a:gd name="T6" fmla="*/ 441 w 882"/>
                <a:gd name="T7" fmla="*/ 51 h 260"/>
                <a:gd name="T8" fmla="*/ 0 w 882"/>
                <a:gd name="T9" fmla="*/ 0 h 260"/>
                <a:gd name="T10" fmla="*/ 0 w 882"/>
                <a:gd name="T11" fmla="*/ 0 h 260"/>
                <a:gd name="T12" fmla="*/ 146 w 882"/>
                <a:gd name="T13" fmla="*/ 227 h 260"/>
                <a:gd name="T14" fmla="*/ 437 w 882"/>
                <a:gd name="T15" fmla="*/ 260 h 260"/>
                <a:gd name="T16" fmla="*/ 604 w 882"/>
                <a:gd name="T17" fmla="*/ 251 h 260"/>
                <a:gd name="T18" fmla="*/ 683 w 882"/>
                <a:gd name="T19" fmla="*/ 239 h 260"/>
                <a:gd name="T20" fmla="*/ 730 w 882"/>
                <a:gd name="T21" fmla="*/ 227 h 260"/>
                <a:gd name="T22" fmla="*/ 882 w 882"/>
                <a:gd name="T23" fmla="*/ 0 h 260"/>
                <a:gd name="T24" fmla="*/ 882 w 882"/>
                <a:gd name="T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2" h="260">
                  <a:moveTo>
                    <a:pt x="882" y="0"/>
                  </a:moveTo>
                  <a:cubicBezTo>
                    <a:pt x="867" y="9"/>
                    <a:pt x="838" y="18"/>
                    <a:pt x="798" y="25"/>
                  </a:cubicBezTo>
                  <a:cubicBezTo>
                    <a:pt x="765" y="32"/>
                    <a:pt x="723" y="37"/>
                    <a:pt x="675" y="41"/>
                  </a:cubicBezTo>
                  <a:cubicBezTo>
                    <a:pt x="607" y="47"/>
                    <a:pt x="527" y="51"/>
                    <a:pt x="441" y="51"/>
                  </a:cubicBezTo>
                  <a:cubicBezTo>
                    <a:pt x="225" y="51"/>
                    <a:pt x="45" y="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3" y="78"/>
                    <a:pt x="146" y="227"/>
                  </a:cubicBezTo>
                  <a:cubicBezTo>
                    <a:pt x="205" y="247"/>
                    <a:pt x="313" y="260"/>
                    <a:pt x="437" y="260"/>
                  </a:cubicBezTo>
                  <a:cubicBezTo>
                    <a:pt x="498" y="260"/>
                    <a:pt x="555" y="257"/>
                    <a:pt x="604" y="251"/>
                  </a:cubicBezTo>
                  <a:cubicBezTo>
                    <a:pt x="634" y="248"/>
                    <a:pt x="660" y="244"/>
                    <a:pt x="683" y="239"/>
                  </a:cubicBezTo>
                  <a:cubicBezTo>
                    <a:pt x="701" y="235"/>
                    <a:pt x="717" y="231"/>
                    <a:pt x="730" y="227"/>
                  </a:cubicBezTo>
                  <a:cubicBezTo>
                    <a:pt x="770" y="150"/>
                    <a:pt x="819" y="73"/>
                    <a:pt x="882" y="0"/>
                  </a:cubicBezTo>
                  <a:cubicBezTo>
                    <a:pt x="882" y="0"/>
                    <a:pt x="882" y="0"/>
                    <a:pt x="882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pic>
        <p:nvPicPr>
          <p:cNvPr id="24" name="Grafik 27">
            <a:extLst>
              <a:ext uri="{FF2B5EF4-FFF2-40B4-BE49-F238E27FC236}">
                <a16:creationId xmlns:a16="http://schemas.microsoft.com/office/drawing/2014/main" id="{84AE7461-94CA-04EC-2C76-0964E92D96D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00208" y="3407748"/>
            <a:ext cx="637955" cy="637955"/>
          </a:xfrm>
          <a:prstGeom prst="rect">
            <a:avLst/>
          </a:prstGeom>
        </p:spPr>
      </p:pic>
      <p:pic>
        <p:nvPicPr>
          <p:cNvPr id="25" name="Grafik 29">
            <a:extLst>
              <a:ext uri="{FF2B5EF4-FFF2-40B4-BE49-F238E27FC236}">
                <a16:creationId xmlns:a16="http://schemas.microsoft.com/office/drawing/2014/main" id="{44FE73B8-0FFF-A2A6-099B-E9515499FC2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00208" y="2420779"/>
            <a:ext cx="637955" cy="637955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79DAE9C9-FF56-01CA-012F-3E1BE0ABE4D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0208" y="5419945"/>
            <a:ext cx="637955" cy="637955"/>
          </a:xfrm>
          <a:prstGeom prst="rect">
            <a:avLst/>
          </a:prstGeom>
        </p:spPr>
      </p:pic>
      <p:pic>
        <p:nvPicPr>
          <p:cNvPr id="27" name="Grafik 33">
            <a:extLst>
              <a:ext uri="{FF2B5EF4-FFF2-40B4-BE49-F238E27FC236}">
                <a16:creationId xmlns:a16="http://schemas.microsoft.com/office/drawing/2014/main" id="{0712B2D2-9EC6-C674-C8D5-DE070EBBCC7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00208" y="4373902"/>
            <a:ext cx="637955" cy="6379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68B6745B-CF33-344B-07A6-A52C7215B75D}"/>
              </a:ext>
            </a:extLst>
          </p:cNvPr>
          <p:cNvSpPr txBox="1">
            <a:spLocks/>
          </p:cNvSpPr>
          <p:nvPr/>
        </p:nvSpPr>
        <p:spPr>
          <a:xfrm>
            <a:off x="8305245" y="4104651"/>
            <a:ext cx="335807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55" name="Gleichschenkliges Dreieck 15">
            <a:extLst>
              <a:ext uri="{FF2B5EF4-FFF2-40B4-BE49-F238E27FC236}">
                <a16:creationId xmlns:a16="http://schemas.microsoft.com/office/drawing/2014/main" id="{A3C87DAB-16C3-05CD-57E6-19BD8050F5BC}"/>
              </a:ext>
            </a:extLst>
          </p:cNvPr>
          <p:cNvSpPr>
            <a:spLocks noChangeAspect="1"/>
          </p:cNvSpPr>
          <p:nvPr/>
        </p:nvSpPr>
        <p:spPr>
          <a:xfrm rot="5400000">
            <a:off x="7734683" y="3748713"/>
            <a:ext cx="298800" cy="160690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416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45631-EE69-F36A-B8B1-59A5D8963C8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30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45631-EE69-F36A-B8B1-59A5D8963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/>
              <a:t>Funnel, detailed, six phases</a:t>
            </a:r>
          </a:p>
        </p:txBody>
      </p:sp>
      <p:grpSp>
        <p:nvGrpSpPr>
          <p:cNvPr id="2" name="Gruppieren 5">
            <a:extLst>
              <a:ext uri="{FF2B5EF4-FFF2-40B4-BE49-F238E27FC236}">
                <a16:creationId xmlns:a16="http://schemas.microsoft.com/office/drawing/2014/main" id="{52994B3F-4B77-4F63-BD78-91E25BF1A20E}"/>
              </a:ext>
            </a:extLst>
          </p:cNvPr>
          <p:cNvGrpSpPr>
            <a:grpSpLocks/>
          </p:cNvGrpSpPr>
          <p:nvPr/>
        </p:nvGrpSpPr>
        <p:grpSpPr>
          <a:xfrm>
            <a:off x="1843993" y="5033812"/>
            <a:ext cx="929996" cy="641432"/>
            <a:chOff x="2117981" y="5220462"/>
            <a:chExt cx="929996" cy="641432"/>
          </a:xfrm>
        </p:grpSpPr>
        <p:sp>
          <p:nvSpPr>
            <p:cNvPr id="3" name="Freihandform: Form 6">
              <a:extLst>
                <a:ext uri="{FF2B5EF4-FFF2-40B4-BE49-F238E27FC236}">
                  <a16:creationId xmlns:a16="http://schemas.microsoft.com/office/drawing/2014/main" id="{BEAEEE2F-8230-FAB6-F178-C9160AD4671B}"/>
                </a:ext>
              </a:extLst>
            </p:cNvPr>
            <p:cNvSpPr>
              <a:spLocks/>
            </p:cNvSpPr>
            <p:nvPr/>
          </p:nvSpPr>
          <p:spPr>
            <a:xfrm>
              <a:off x="2118726" y="5220462"/>
              <a:ext cx="929242" cy="43356"/>
            </a:xfrm>
            <a:custGeom>
              <a:avLst/>
              <a:gdLst>
                <a:gd name="connsiteX0" fmla="*/ 118396 w 118395"/>
                <a:gd name="connsiteY0" fmla="*/ 2762 h 5524"/>
                <a:gd name="connsiteX1" fmla="*/ 59150 w 118395"/>
                <a:gd name="connsiteY1" fmla="*/ 5525 h 5524"/>
                <a:gd name="connsiteX2" fmla="*/ 0 w 118395"/>
                <a:gd name="connsiteY2" fmla="*/ 2858 h 5524"/>
                <a:gd name="connsiteX3" fmla="*/ 0 w 118395"/>
                <a:gd name="connsiteY3" fmla="*/ 2858 h 5524"/>
                <a:gd name="connsiteX4" fmla="*/ 59150 w 118395"/>
                <a:gd name="connsiteY4" fmla="*/ 0 h 5524"/>
                <a:gd name="connsiteX5" fmla="*/ 118396 w 118395"/>
                <a:gd name="connsiteY5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95" h="5524">
                  <a:moveTo>
                    <a:pt x="118396" y="2762"/>
                  </a:moveTo>
                  <a:cubicBezTo>
                    <a:pt x="118396" y="4286"/>
                    <a:pt x="91916" y="5525"/>
                    <a:pt x="59150" y="5525"/>
                  </a:cubicBezTo>
                  <a:cubicBezTo>
                    <a:pt x="26384" y="5525"/>
                    <a:pt x="2000" y="4382"/>
                    <a:pt x="0" y="2858"/>
                  </a:cubicBezTo>
                  <a:lnTo>
                    <a:pt x="0" y="2858"/>
                  </a:lnTo>
                  <a:cubicBezTo>
                    <a:pt x="2000" y="1143"/>
                    <a:pt x="27718" y="0"/>
                    <a:pt x="59150" y="0"/>
                  </a:cubicBezTo>
                  <a:cubicBezTo>
                    <a:pt x="90583" y="0"/>
                    <a:pt x="118396" y="1238"/>
                    <a:pt x="118396" y="2762"/>
                  </a:cubicBezTo>
                  <a:close/>
                </a:path>
              </a:pathLst>
            </a:custGeom>
            <a:solidFill>
              <a:schemeClr val="accent1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638B44A4-9527-9A5A-67CA-00D4F8DCA6C5}"/>
                </a:ext>
              </a:extLst>
            </p:cNvPr>
            <p:cNvSpPr>
              <a:spLocks/>
            </p:cNvSpPr>
            <p:nvPr/>
          </p:nvSpPr>
          <p:spPr>
            <a:xfrm>
              <a:off x="2117981" y="5242148"/>
              <a:ext cx="929996" cy="619746"/>
            </a:xfrm>
            <a:custGeom>
              <a:avLst/>
              <a:gdLst>
                <a:gd name="connsiteX0" fmla="*/ 118491 w 118491"/>
                <a:gd name="connsiteY0" fmla="*/ 0 h 78962"/>
                <a:gd name="connsiteX1" fmla="*/ 118491 w 118491"/>
                <a:gd name="connsiteY1" fmla="*/ 76200 h 78962"/>
                <a:gd name="connsiteX2" fmla="*/ 59246 w 118491"/>
                <a:gd name="connsiteY2" fmla="*/ 78962 h 78962"/>
                <a:gd name="connsiteX3" fmla="*/ 0 w 118491"/>
                <a:gd name="connsiteY3" fmla="*/ 76200 h 78962"/>
                <a:gd name="connsiteX4" fmla="*/ 95 w 118491"/>
                <a:gd name="connsiteY4" fmla="*/ 76200 h 78962"/>
                <a:gd name="connsiteX5" fmla="*/ 95 w 118491"/>
                <a:gd name="connsiteY5" fmla="*/ 95 h 78962"/>
                <a:gd name="connsiteX6" fmla="*/ 59246 w 118491"/>
                <a:gd name="connsiteY6" fmla="*/ 2762 h 78962"/>
                <a:gd name="connsiteX7" fmla="*/ 118491 w 118491"/>
                <a:gd name="connsiteY7" fmla="*/ 0 h 7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91" h="78962">
                  <a:moveTo>
                    <a:pt x="118491" y="0"/>
                  </a:moveTo>
                  <a:lnTo>
                    <a:pt x="118491" y="76200"/>
                  </a:lnTo>
                  <a:cubicBezTo>
                    <a:pt x="118491" y="77724"/>
                    <a:pt x="92012" y="78962"/>
                    <a:pt x="59246" y="78962"/>
                  </a:cubicBezTo>
                  <a:cubicBezTo>
                    <a:pt x="26480" y="78962"/>
                    <a:pt x="0" y="77724"/>
                    <a:pt x="0" y="76200"/>
                  </a:cubicBezTo>
                  <a:cubicBezTo>
                    <a:pt x="0" y="76200"/>
                    <a:pt x="31" y="76200"/>
                    <a:pt x="95" y="76200"/>
                  </a:cubicBezTo>
                  <a:lnTo>
                    <a:pt x="95" y="95"/>
                  </a:lnTo>
                  <a:cubicBezTo>
                    <a:pt x="2096" y="1619"/>
                    <a:pt x="27813" y="2762"/>
                    <a:pt x="59246" y="2762"/>
                  </a:cubicBezTo>
                  <a:cubicBezTo>
                    <a:pt x="90678" y="2762"/>
                    <a:pt x="118491" y="1524"/>
                    <a:pt x="11849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D34A9D83-6AB3-757F-2605-A79CDFF52465}"/>
              </a:ext>
            </a:extLst>
          </p:cNvPr>
          <p:cNvGrpSpPr>
            <a:grpSpLocks/>
          </p:cNvGrpSpPr>
          <p:nvPr/>
        </p:nvGrpSpPr>
        <p:grpSpPr>
          <a:xfrm>
            <a:off x="1566637" y="4337817"/>
            <a:ext cx="1484700" cy="654876"/>
            <a:chOff x="1840625" y="4524467"/>
            <a:chExt cx="1484700" cy="654876"/>
          </a:xfrm>
        </p:grpSpPr>
        <p:sp>
          <p:nvSpPr>
            <p:cNvPr id="7" name="Freihandform: Form 9">
              <a:extLst>
                <a:ext uri="{FF2B5EF4-FFF2-40B4-BE49-F238E27FC236}">
                  <a16:creationId xmlns:a16="http://schemas.microsoft.com/office/drawing/2014/main" id="{5E11DD02-ABDE-EA4F-9AB3-8149B29E7EBD}"/>
                </a:ext>
              </a:extLst>
            </p:cNvPr>
            <p:cNvSpPr>
              <a:spLocks/>
            </p:cNvSpPr>
            <p:nvPr/>
          </p:nvSpPr>
          <p:spPr>
            <a:xfrm>
              <a:off x="1840625" y="4524467"/>
              <a:ext cx="1484700" cy="6877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3C7682B7-74E0-0378-AC70-2560971DB31F}"/>
                </a:ext>
              </a:extLst>
            </p:cNvPr>
            <p:cNvSpPr>
              <a:spLocks/>
            </p:cNvSpPr>
            <p:nvPr/>
          </p:nvSpPr>
          <p:spPr>
            <a:xfrm>
              <a:off x="1841370" y="4560351"/>
              <a:ext cx="1483208" cy="618992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11" name="Gruppieren 11">
            <a:extLst>
              <a:ext uri="{FF2B5EF4-FFF2-40B4-BE49-F238E27FC236}">
                <a16:creationId xmlns:a16="http://schemas.microsoft.com/office/drawing/2014/main" id="{537AFCCA-2379-155F-6034-687ACB2E5C9C}"/>
              </a:ext>
            </a:extLst>
          </p:cNvPr>
          <p:cNvGrpSpPr>
            <a:grpSpLocks/>
          </p:cNvGrpSpPr>
          <p:nvPr/>
        </p:nvGrpSpPr>
        <p:grpSpPr>
          <a:xfrm>
            <a:off x="1279564" y="3641068"/>
            <a:ext cx="2058845" cy="681789"/>
            <a:chOff x="1553552" y="3827718"/>
            <a:chExt cx="2058845" cy="681789"/>
          </a:xfrm>
        </p:grpSpPr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3829CE9D-276F-5184-285D-7522CAD1891E}"/>
                </a:ext>
              </a:extLst>
            </p:cNvPr>
            <p:cNvSpPr>
              <a:spLocks/>
            </p:cNvSpPr>
            <p:nvPr/>
          </p:nvSpPr>
          <p:spPr>
            <a:xfrm>
              <a:off x="1553552" y="3827718"/>
              <a:ext cx="2058845" cy="95691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bg2">
                <a:lumMod val="50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FB1E6914-7584-678A-791A-0A0D68693FE3}"/>
                </a:ext>
              </a:extLst>
            </p:cNvPr>
            <p:cNvSpPr>
              <a:spLocks/>
            </p:cNvSpPr>
            <p:nvPr/>
          </p:nvSpPr>
          <p:spPr>
            <a:xfrm>
              <a:off x="1555051" y="3875563"/>
              <a:ext cx="2057346" cy="633944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14" name="Gruppieren 14">
            <a:extLst>
              <a:ext uri="{FF2B5EF4-FFF2-40B4-BE49-F238E27FC236}">
                <a16:creationId xmlns:a16="http://schemas.microsoft.com/office/drawing/2014/main" id="{36068CD3-0DA5-AFC4-DC94-F74C8D8940D3}"/>
              </a:ext>
            </a:extLst>
          </p:cNvPr>
          <p:cNvGrpSpPr>
            <a:grpSpLocks/>
          </p:cNvGrpSpPr>
          <p:nvPr/>
        </p:nvGrpSpPr>
        <p:grpSpPr>
          <a:xfrm>
            <a:off x="992492" y="2944319"/>
            <a:ext cx="2632990" cy="708702"/>
            <a:chOff x="1266480" y="3130969"/>
            <a:chExt cx="2632990" cy="708702"/>
          </a:xfrm>
        </p:grpSpPr>
        <p:sp>
          <p:nvSpPr>
            <p:cNvPr id="15" name="Freihandform: Form 15">
              <a:extLst>
                <a:ext uri="{FF2B5EF4-FFF2-40B4-BE49-F238E27FC236}">
                  <a16:creationId xmlns:a16="http://schemas.microsoft.com/office/drawing/2014/main" id="{529DA37F-5C49-B081-6455-D604CD0D8F94}"/>
                </a:ext>
              </a:extLst>
            </p:cNvPr>
            <p:cNvSpPr>
              <a:spLocks/>
            </p:cNvSpPr>
            <p:nvPr/>
          </p:nvSpPr>
          <p:spPr>
            <a:xfrm>
              <a:off x="1268724" y="3195257"/>
              <a:ext cx="2629254" cy="644414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6" name="Freihandform: Form 16">
              <a:extLst>
                <a:ext uri="{FF2B5EF4-FFF2-40B4-BE49-F238E27FC236}">
                  <a16:creationId xmlns:a16="http://schemas.microsoft.com/office/drawing/2014/main" id="{46B875E8-1E2D-C0D6-5BE7-10F27E171BE1}"/>
                </a:ext>
              </a:extLst>
            </p:cNvPr>
            <p:cNvSpPr>
              <a:spLocks/>
            </p:cNvSpPr>
            <p:nvPr/>
          </p:nvSpPr>
          <p:spPr>
            <a:xfrm>
              <a:off x="1266480" y="3130969"/>
              <a:ext cx="2632990" cy="122604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bg2">
                <a:lumMod val="75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</p:grpSp>
      <p:grpSp>
        <p:nvGrpSpPr>
          <p:cNvPr id="17" name="Gruppieren 17">
            <a:extLst>
              <a:ext uri="{FF2B5EF4-FFF2-40B4-BE49-F238E27FC236}">
                <a16:creationId xmlns:a16="http://schemas.microsoft.com/office/drawing/2014/main" id="{E3F4BF61-6444-86BB-6E35-F446A7B19968}"/>
              </a:ext>
            </a:extLst>
          </p:cNvPr>
          <p:cNvGrpSpPr>
            <a:grpSpLocks/>
          </p:cNvGrpSpPr>
          <p:nvPr/>
        </p:nvGrpSpPr>
        <p:grpSpPr>
          <a:xfrm>
            <a:off x="705419" y="2246816"/>
            <a:ext cx="3207135" cy="736370"/>
            <a:chOff x="979407" y="2433466"/>
            <a:chExt cx="3207135" cy="736370"/>
          </a:xfrm>
        </p:grpSpPr>
        <p:sp>
          <p:nvSpPr>
            <p:cNvPr id="18" name="Freihandform: Form 18">
              <a:extLst>
                <a:ext uri="{FF2B5EF4-FFF2-40B4-BE49-F238E27FC236}">
                  <a16:creationId xmlns:a16="http://schemas.microsoft.com/office/drawing/2014/main" id="{F9574191-C394-B78A-8AE1-9C69234A3F32}"/>
                </a:ext>
              </a:extLst>
            </p:cNvPr>
            <p:cNvSpPr>
              <a:spLocks/>
            </p:cNvSpPr>
            <p:nvPr/>
          </p:nvSpPr>
          <p:spPr>
            <a:xfrm>
              <a:off x="979407" y="2433466"/>
              <a:ext cx="3207135" cy="149517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bg2">
                <a:lumMod val="90000"/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19" name="Freihandform: Form 19">
              <a:extLst>
                <a:ext uri="{FF2B5EF4-FFF2-40B4-BE49-F238E27FC236}">
                  <a16:creationId xmlns:a16="http://schemas.microsoft.com/office/drawing/2014/main" id="{151AB6A7-E774-84D6-68B4-F3B6157E23A2}"/>
                </a:ext>
              </a:extLst>
            </p:cNvPr>
            <p:cNvSpPr>
              <a:spLocks/>
            </p:cNvSpPr>
            <p:nvPr/>
          </p:nvSpPr>
          <p:spPr>
            <a:xfrm>
              <a:off x="981652" y="2508225"/>
              <a:ext cx="3204890" cy="661611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20" name="Gleichschenkliges Dreieck 39">
            <a:extLst>
              <a:ext uri="{FF2B5EF4-FFF2-40B4-BE49-F238E27FC236}">
                <a16:creationId xmlns:a16="http://schemas.microsoft.com/office/drawing/2014/main" id="{1DC56D59-FC62-D13A-9EBD-5B4A7F45B014}"/>
              </a:ext>
            </a:extLst>
          </p:cNvPr>
          <p:cNvSpPr>
            <a:spLocks/>
          </p:cNvSpPr>
          <p:nvPr/>
        </p:nvSpPr>
        <p:spPr>
          <a:xfrm rot="10800000">
            <a:off x="2157305" y="5812273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  <p:grpSp>
        <p:nvGrpSpPr>
          <p:cNvPr id="21" name="Gruppieren 21">
            <a:extLst>
              <a:ext uri="{FF2B5EF4-FFF2-40B4-BE49-F238E27FC236}">
                <a16:creationId xmlns:a16="http://schemas.microsoft.com/office/drawing/2014/main" id="{7569CD23-7396-33C1-3DBD-9C49A3B852D0}"/>
              </a:ext>
            </a:extLst>
          </p:cNvPr>
          <p:cNvGrpSpPr>
            <a:grpSpLocks/>
          </p:cNvGrpSpPr>
          <p:nvPr/>
        </p:nvGrpSpPr>
        <p:grpSpPr>
          <a:xfrm>
            <a:off x="419100" y="1550075"/>
            <a:ext cx="3779789" cy="763283"/>
            <a:chOff x="693088" y="1736725"/>
            <a:chExt cx="3779789" cy="763283"/>
          </a:xfrm>
        </p:grpSpPr>
        <p:sp>
          <p:nvSpPr>
            <p:cNvPr id="22" name="Freihandform: Form 22">
              <a:extLst>
                <a:ext uri="{FF2B5EF4-FFF2-40B4-BE49-F238E27FC236}">
                  <a16:creationId xmlns:a16="http://schemas.microsoft.com/office/drawing/2014/main" id="{7C1D95CF-359E-62D4-26E7-2798C572AF54}"/>
                </a:ext>
              </a:extLst>
            </p:cNvPr>
            <p:cNvSpPr>
              <a:spLocks/>
            </p:cNvSpPr>
            <p:nvPr/>
          </p:nvSpPr>
          <p:spPr>
            <a:xfrm>
              <a:off x="695325" y="1829426"/>
              <a:ext cx="3775300" cy="670582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ihandform: Form 23">
              <a:extLst>
                <a:ext uri="{FF2B5EF4-FFF2-40B4-BE49-F238E27FC236}">
                  <a16:creationId xmlns:a16="http://schemas.microsoft.com/office/drawing/2014/main" id="{086C4193-1E1C-C294-2DE4-6AD387370DEA}"/>
                </a:ext>
              </a:extLst>
            </p:cNvPr>
            <p:cNvSpPr>
              <a:spLocks/>
            </p:cNvSpPr>
            <p:nvPr/>
          </p:nvSpPr>
          <p:spPr>
            <a:xfrm>
              <a:off x="693088" y="1736725"/>
              <a:ext cx="3779789" cy="176422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</p:grpSp>
      <p:sp>
        <p:nvSpPr>
          <p:cNvPr id="24" name="Textfeld 74">
            <a:extLst>
              <a:ext uri="{FF2B5EF4-FFF2-40B4-BE49-F238E27FC236}">
                <a16:creationId xmlns:a16="http://schemas.microsoft.com/office/drawing/2014/main" id="{EE371A0C-B9FE-EE05-C3E0-B063B2D911D1}"/>
              </a:ext>
            </a:extLst>
          </p:cNvPr>
          <p:cNvSpPr txBox="1">
            <a:spLocks/>
          </p:cNvSpPr>
          <p:nvPr/>
        </p:nvSpPr>
        <p:spPr>
          <a:xfrm>
            <a:off x="705419" y="1931305"/>
            <a:ext cx="320713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1</a:t>
            </a:r>
          </a:p>
        </p:txBody>
      </p:sp>
      <p:sp>
        <p:nvSpPr>
          <p:cNvPr id="25" name="Textfeld 110">
            <a:extLst>
              <a:ext uri="{FF2B5EF4-FFF2-40B4-BE49-F238E27FC236}">
                <a16:creationId xmlns:a16="http://schemas.microsoft.com/office/drawing/2014/main" id="{E8EB17C7-89A3-8DDD-AD40-E0F430DC2A2C}"/>
              </a:ext>
            </a:extLst>
          </p:cNvPr>
          <p:cNvSpPr txBox="1">
            <a:spLocks/>
          </p:cNvSpPr>
          <p:nvPr/>
        </p:nvSpPr>
        <p:spPr>
          <a:xfrm>
            <a:off x="993982" y="2575138"/>
            <a:ext cx="26300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2</a:t>
            </a:r>
          </a:p>
        </p:txBody>
      </p:sp>
      <p:sp>
        <p:nvSpPr>
          <p:cNvPr id="26" name="Textfeld 111">
            <a:extLst>
              <a:ext uri="{FF2B5EF4-FFF2-40B4-BE49-F238E27FC236}">
                <a16:creationId xmlns:a16="http://schemas.microsoft.com/office/drawing/2014/main" id="{449E4072-2001-4536-75A9-1679C70831E6}"/>
              </a:ext>
            </a:extLst>
          </p:cNvPr>
          <p:cNvSpPr txBox="1">
            <a:spLocks/>
          </p:cNvSpPr>
          <p:nvPr/>
        </p:nvSpPr>
        <p:spPr>
          <a:xfrm>
            <a:off x="1279564" y="3245952"/>
            <a:ext cx="205884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3</a:t>
            </a:r>
          </a:p>
        </p:txBody>
      </p:sp>
      <p:sp>
        <p:nvSpPr>
          <p:cNvPr id="27" name="Textfeld 112">
            <a:extLst>
              <a:ext uri="{FF2B5EF4-FFF2-40B4-BE49-F238E27FC236}">
                <a16:creationId xmlns:a16="http://schemas.microsoft.com/office/drawing/2014/main" id="{6E75560D-864F-6AC0-3343-E2C849EDABF3}"/>
              </a:ext>
            </a:extLst>
          </p:cNvPr>
          <p:cNvSpPr txBox="1">
            <a:spLocks/>
          </p:cNvSpPr>
          <p:nvPr/>
        </p:nvSpPr>
        <p:spPr>
          <a:xfrm>
            <a:off x="1567382" y="3913403"/>
            <a:ext cx="14832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4</a:t>
            </a:r>
          </a:p>
        </p:txBody>
      </p:sp>
      <p:sp>
        <p:nvSpPr>
          <p:cNvPr id="28" name="Textfeld 113">
            <a:extLst>
              <a:ext uri="{FF2B5EF4-FFF2-40B4-BE49-F238E27FC236}">
                <a16:creationId xmlns:a16="http://schemas.microsoft.com/office/drawing/2014/main" id="{4566242C-1E14-E410-97ED-1DDEF0CFA155}"/>
              </a:ext>
            </a:extLst>
          </p:cNvPr>
          <p:cNvSpPr txBox="1">
            <a:spLocks/>
          </p:cNvSpPr>
          <p:nvPr/>
        </p:nvSpPr>
        <p:spPr>
          <a:xfrm>
            <a:off x="1844738" y="4575475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5</a:t>
            </a:r>
          </a:p>
        </p:txBody>
      </p:sp>
      <p:sp>
        <p:nvSpPr>
          <p:cNvPr id="29" name="Textfeld 114">
            <a:extLst>
              <a:ext uri="{FF2B5EF4-FFF2-40B4-BE49-F238E27FC236}">
                <a16:creationId xmlns:a16="http://schemas.microsoft.com/office/drawing/2014/main" id="{44BCA168-0342-72E3-1F05-EA36988B40F1}"/>
              </a:ext>
            </a:extLst>
          </p:cNvPr>
          <p:cNvSpPr txBox="1">
            <a:spLocks/>
          </p:cNvSpPr>
          <p:nvPr/>
        </p:nvSpPr>
        <p:spPr>
          <a:xfrm>
            <a:off x="1844738" y="5257649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1400">
                <a:solidFill>
                  <a:schemeClr val="bg1"/>
                </a:solidFill>
                <a:cs typeface="Helvetica" panose="020B0604020202020204" pitchFamily="34" charset="0"/>
              </a:rPr>
              <a:t>Phase 6</a:t>
            </a:r>
          </a:p>
        </p:txBody>
      </p:sp>
      <p:cxnSp>
        <p:nvCxnSpPr>
          <p:cNvPr id="30" name="Gerader Verbinder 30">
            <a:extLst>
              <a:ext uri="{FF2B5EF4-FFF2-40B4-BE49-F238E27FC236}">
                <a16:creationId xmlns:a16="http://schemas.microsoft.com/office/drawing/2014/main" id="{84C5B730-403D-3382-60D9-690B54188960}"/>
              </a:ext>
            </a:extLst>
          </p:cNvPr>
          <p:cNvCxnSpPr>
            <a:cxnSpLocks/>
          </p:cNvCxnSpPr>
          <p:nvPr/>
        </p:nvCxnSpPr>
        <p:spPr>
          <a:xfrm>
            <a:off x="4093528" y="2273997"/>
            <a:ext cx="771747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1">
            <a:extLst>
              <a:ext uri="{FF2B5EF4-FFF2-40B4-BE49-F238E27FC236}">
                <a16:creationId xmlns:a16="http://schemas.microsoft.com/office/drawing/2014/main" id="{7688D8CD-06CE-0498-A79F-3A0F53CFE8CD}"/>
              </a:ext>
            </a:extLst>
          </p:cNvPr>
          <p:cNvCxnSpPr>
            <a:cxnSpLocks/>
          </p:cNvCxnSpPr>
          <p:nvPr/>
        </p:nvCxnSpPr>
        <p:spPr>
          <a:xfrm>
            <a:off x="3797042" y="2958560"/>
            <a:ext cx="801395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2">
            <a:extLst>
              <a:ext uri="{FF2B5EF4-FFF2-40B4-BE49-F238E27FC236}">
                <a16:creationId xmlns:a16="http://schemas.microsoft.com/office/drawing/2014/main" id="{253A8795-0CD4-555A-79F4-E62D7CA935A8}"/>
              </a:ext>
            </a:extLst>
          </p:cNvPr>
          <p:cNvCxnSpPr>
            <a:cxnSpLocks/>
          </p:cNvCxnSpPr>
          <p:nvPr/>
        </p:nvCxnSpPr>
        <p:spPr>
          <a:xfrm>
            <a:off x="3519383" y="3643122"/>
            <a:ext cx="8291617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3">
            <a:extLst>
              <a:ext uri="{FF2B5EF4-FFF2-40B4-BE49-F238E27FC236}">
                <a16:creationId xmlns:a16="http://schemas.microsoft.com/office/drawing/2014/main" id="{CD8BC072-3F03-70ED-728F-FD80411BBF5D}"/>
              </a:ext>
            </a:extLst>
          </p:cNvPr>
          <p:cNvCxnSpPr>
            <a:cxnSpLocks/>
          </p:cNvCxnSpPr>
          <p:nvPr/>
        </p:nvCxnSpPr>
        <p:spPr>
          <a:xfrm>
            <a:off x="3231565" y="4327685"/>
            <a:ext cx="8579435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4">
            <a:extLst>
              <a:ext uri="{FF2B5EF4-FFF2-40B4-BE49-F238E27FC236}">
                <a16:creationId xmlns:a16="http://schemas.microsoft.com/office/drawing/2014/main" id="{06CF9193-99BC-F2BE-C623-837435D1F2E0}"/>
              </a:ext>
            </a:extLst>
          </p:cNvPr>
          <p:cNvCxnSpPr>
            <a:cxnSpLocks/>
          </p:cNvCxnSpPr>
          <p:nvPr/>
        </p:nvCxnSpPr>
        <p:spPr>
          <a:xfrm>
            <a:off x="2954209" y="5012247"/>
            <a:ext cx="8856791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30">
            <a:extLst>
              <a:ext uri="{FF2B5EF4-FFF2-40B4-BE49-F238E27FC236}">
                <a16:creationId xmlns:a16="http://schemas.microsoft.com/office/drawing/2014/main" id="{4506B300-8079-305A-917E-79461D4771CB}"/>
              </a:ext>
            </a:extLst>
          </p:cNvPr>
          <p:cNvSpPr txBox="1">
            <a:spLocks/>
          </p:cNvSpPr>
          <p:nvPr/>
        </p:nvSpPr>
        <p:spPr>
          <a:xfrm>
            <a:off x="4625547" y="164914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36" name="Textplatzhalter 30">
            <a:extLst>
              <a:ext uri="{FF2B5EF4-FFF2-40B4-BE49-F238E27FC236}">
                <a16:creationId xmlns:a16="http://schemas.microsoft.com/office/drawing/2014/main" id="{C16BE54D-BD6C-26AA-9221-FE098CD2AABB}"/>
              </a:ext>
            </a:extLst>
          </p:cNvPr>
          <p:cNvSpPr txBox="1">
            <a:spLocks/>
          </p:cNvSpPr>
          <p:nvPr/>
        </p:nvSpPr>
        <p:spPr>
          <a:xfrm>
            <a:off x="4625547" y="233370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i="0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endParaRPr kumimoji="0" lang="en-US" i="0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37" name="Textplatzhalter 30">
            <a:extLst>
              <a:ext uri="{FF2B5EF4-FFF2-40B4-BE49-F238E27FC236}">
                <a16:creationId xmlns:a16="http://schemas.microsoft.com/office/drawing/2014/main" id="{C375737D-760D-FE38-F778-24D6621E144A}"/>
              </a:ext>
            </a:extLst>
          </p:cNvPr>
          <p:cNvSpPr txBox="1">
            <a:spLocks/>
          </p:cNvSpPr>
          <p:nvPr/>
        </p:nvSpPr>
        <p:spPr>
          <a:xfrm>
            <a:off x="4625547" y="3018268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38" name="Textplatzhalter 30">
            <a:extLst>
              <a:ext uri="{FF2B5EF4-FFF2-40B4-BE49-F238E27FC236}">
                <a16:creationId xmlns:a16="http://schemas.microsoft.com/office/drawing/2014/main" id="{2E0D27CF-C9CD-09BF-BF98-4A0FD912D60D}"/>
              </a:ext>
            </a:extLst>
          </p:cNvPr>
          <p:cNvSpPr txBox="1">
            <a:spLocks/>
          </p:cNvSpPr>
          <p:nvPr/>
        </p:nvSpPr>
        <p:spPr>
          <a:xfrm>
            <a:off x="4625547" y="3702831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id="{A67ACCD3-5C7F-B9BD-ADFB-26273211FCD0}"/>
              </a:ext>
            </a:extLst>
          </p:cNvPr>
          <p:cNvSpPr txBox="1">
            <a:spLocks/>
          </p:cNvSpPr>
          <p:nvPr/>
        </p:nvSpPr>
        <p:spPr>
          <a:xfrm>
            <a:off x="4625547" y="438739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i="0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endParaRPr kumimoji="0" lang="en-US" i="0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40" name="Textplatzhalter 30">
            <a:extLst>
              <a:ext uri="{FF2B5EF4-FFF2-40B4-BE49-F238E27FC236}">
                <a16:creationId xmlns:a16="http://schemas.microsoft.com/office/drawing/2014/main" id="{AAC1FCCC-1227-E59B-D240-3D44A7B8A2DF}"/>
              </a:ext>
            </a:extLst>
          </p:cNvPr>
          <p:cNvSpPr txBox="1">
            <a:spLocks/>
          </p:cNvSpPr>
          <p:nvPr/>
        </p:nvSpPr>
        <p:spPr>
          <a:xfrm>
            <a:off x="4625547" y="507195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</a:t>
            </a:r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DB7761D1-7350-AF3E-67DB-DCD3AE38D4D0}"/>
              </a:ext>
            </a:extLst>
          </p:cNvPr>
          <p:cNvSpPr txBox="1">
            <a:spLocks/>
          </p:cNvSpPr>
          <p:nvPr/>
        </p:nvSpPr>
        <p:spPr>
          <a:xfrm>
            <a:off x="7910220" y="1716273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A5F27409-0BF1-6E94-EDAF-050A5BF21E45}"/>
              </a:ext>
            </a:extLst>
          </p:cNvPr>
          <p:cNvSpPr txBox="1">
            <a:spLocks/>
          </p:cNvSpPr>
          <p:nvPr/>
        </p:nvSpPr>
        <p:spPr>
          <a:xfrm>
            <a:off x="7910220" y="2400835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3" name="Inhaltsplatzhalter 2">
            <a:extLst>
              <a:ext uri="{FF2B5EF4-FFF2-40B4-BE49-F238E27FC236}">
                <a16:creationId xmlns:a16="http://schemas.microsoft.com/office/drawing/2014/main" id="{338588AA-D861-0C65-0345-66032198CF0B}"/>
              </a:ext>
            </a:extLst>
          </p:cNvPr>
          <p:cNvSpPr txBox="1">
            <a:spLocks/>
          </p:cNvSpPr>
          <p:nvPr/>
        </p:nvSpPr>
        <p:spPr>
          <a:xfrm>
            <a:off x="7910220" y="3085398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C8FA7D91-ABE4-545E-7988-CBFA68E6D39F}"/>
              </a:ext>
            </a:extLst>
          </p:cNvPr>
          <p:cNvSpPr txBox="1">
            <a:spLocks/>
          </p:cNvSpPr>
          <p:nvPr/>
        </p:nvSpPr>
        <p:spPr>
          <a:xfrm>
            <a:off x="7910220" y="3769960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6" name="Inhaltsplatzhalter 2">
            <a:extLst>
              <a:ext uri="{FF2B5EF4-FFF2-40B4-BE49-F238E27FC236}">
                <a16:creationId xmlns:a16="http://schemas.microsoft.com/office/drawing/2014/main" id="{84DE3FC9-E1C6-36CB-4976-DAAFAD729D52}"/>
              </a:ext>
            </a:extLst>
          </p:cNvPr>
          <p:cNvSpPr txBox="1">
            <a:spLocks/>
          </p:cNvSpPr>
          <p:nvPr/>
        </p:nvSpPr>
        <p:spPr>
          <a:xfrm>
            <a:off x="7910220" y="4454523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CE60B6C6-B135-051A-322A-B0758A4357E2}"/>
              </a:ext>
            </a:extLst>
          </p:cNvPr>
          <p:cNvSpPr txBox="1">
            <a:spLocks/>
          </p:cNvSpPr>
          <p:nvPr/>
        </p:nvSpPr>
        <p:spPr>
          <a:xfrm>
            <a:off x="7910220" y="5139085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0400" indent="-140400"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 marL="140400" indent="-140400"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</p:spTree>
    <p:extLst>
      <p:ext uri="{BB962C8B-B14F-4D97-AF65-F5344CB8AC3E}">
        <p14:creationId xmlns:p14="http://schemas.microsoft.com/office/powerpoint/2010/main" val="4205195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23B03B7-8B2E-865F-D690-47E757D5CA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65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3B03B7-8B2E-865F-D690-47E757D5C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Funnel, </a:t>
            </a:r>
            <a:r>
              <a:rPr lang="en-US"/>
              <a:t>illustrative, horizontal</a:t>
            </a:r>
            <a:r>
              <a:rPr lang="en-US" dirty="0"/>
              <a:t>, eight phases</a:t>
            </a:r>
          </a:p>
        </p:txBody>
      </p:sp>
      <p:cxnSp>
        <p:nvCxnSpPr>
          <p:cNvPr id="2" name="Gerader Verbinder 31">
            <a:extLst>
              <a:ext uri="{FF2B5EF4-FFF2-40B4-BE49-F238E27FC236}">
                <a16:creationId xmlns:a16="http://schemas.microsoft.com/office/drawing/2014/main" id="{D0EFA1A1-CC07-618C-EA88-83209966FF79}"/>
              </a:ext>
            </a:extLst>
          </p:cNvPr>
          <p:cNvCxnSpPr>
            <a:cxnSpLocks/>
          </p:cNvCxnSpPr>
          <p:nvPr/>
        </p:nvCxnSpPr>
        <p:spPr>
          <a:xfrm>
            <a:off x="1959246" y="4893185"/>
            <a:ext cx="0" cy="1165225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32">
            <a:extLst>
              <a:ext uri="{FF2B5EF4-FFF2-40B4-BE49-F238E27FC236}">
                <a16:creationId xmlns:a16="http://schemas.microsoft.com/office/drawing/2014/main" id="{CDC184BD-E145-0C74-C6C0-2C4F6ADAA379}"/>
              </a:ext>
            </a:extLst>
          </p:cNvPr>
          <p:cNvCxnSpPr>
            <a:cxnSpLocks/>
          </p:cNvCxnSpPr>
          <p:nvPr/>
        </p:nvCxnSpPr>
        <p:spPr>
          <a:xfrm>
            <a:off x="3192039" y="4686810"/>
            <a:ext cx="0" cy="1377156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3">
            <a:extLst>
              <a:ext uri="{FF2B5EF4-FFF2-40B4-BE49-F238E27FC236}">
                <a16:creationId xmlns:a16="http://schemas.microsoft.com/office/drawing/2014/main" id="{4C4D19A1-4A3D-EBE9-F0FE-1E9F23FAACDB}"/>
              </a:ext>
            </a:extLst>
          </p:cNvPr>
          <p:cNvCxnSpPr>
            <a:cxnSpLocks/>
          </p:cNvCxnSpPr>
          <p:nvPr/>
        </p:nvCxnSpPr>
        <p:spPr>
          <a:xfrm>
            <a:off x="4424833" y="4483540"/>
            <a:ext cx="0" cy="1582808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34">
            <a:extLst>
              <a:ext uri="{FF2B5EF4-FFF2-40B4-BE49-F238E27FC236}">
                <a16:creationId xmlns:a16="http://schemas.microsoft.com/office/drawing/2014/main" id="{117858D7-D251-BF4A-578C-BB1671EB8DBF}"/>
              </a:ext>
            </a:extLst>
          </p:cNvPr>
          <p:cNvCxnSpPr>
            <a:cxnSpLocks/>
          </p:cNvCxnSpPr>
          <p:nvPr/>
        </p:nvCxnSpPr>
        <p:spPr>
          <a:xfrm>
            <a:off x="5657628" y="4295589"/>
            <a:ext cx="0" cy="1768377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5">
            <a:extLst>
              <a:ext uri="{FF2B5EF4-FFF2-40B4-BE49-F238E27FC236}">
                <a16:creationId xmlns:a16="http://schemas.microsoft.com/office/drawing/2014/main" id="{FFF153DA-1076-6ED8-99AD-DAA5B72C3779}"/>
              </a:ext>
            </a:extLst>
          </p:cNvPr>
          <p:cNvCxnSpPr>
            <a:cxnSpLocks/>
          </p:cNvCxnSpPr>
          <p:nvPr/>
        </p:nvCxnSpPr>
        <p:spPr>
          <a:xfrm>
            <a:off x="6890421" y="4118974"/>
            <a:ext cx="0" cy="194023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36">
            <a:extLst>
              <a:ext uri="{FF2B5EF4-FFF2-40B4-BE49-F238E27FC236}">
                <a16:creationId xmlns:a16="http://schemas.microsoft.com/office/drawing/2014/main" id="{CC5DED62-E7DD-7A0D-F980-53C101D43C44}"/>
              </a:ext>
            </a:extLst>
          </p:cNvPr>
          <p:cNvCxnSpPr>
            <a:cxnSpLocks/>
          </p:cNvCxnSpPr>
          <p:nvPr/>
        </p:nvCxnSpPr>
        <p:spPr>
          <a:xfrm>
            <a:off x="8123215" y="3941903"/>
            <a:ext cx="0" cy="2117301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37">
            <a:extLst>
              <a:ext uri="{FF2B5EF4-FFF2-40B4-BE49-F238E27FC236}">
                <a16:creationId xmlns:a16="http://schemas.microsoft.com/office/drawing/2014/main" id="{5074D20D-D6D6-753D-A4E2-4AEB3FA51922}"/>
              </a:ext>
            </a:extLst>
          </p:cNvPr>
          <p:cNvCxnSpPr>
            <a:cxnSpLocks/>
          </p:cNvCxnSpPr>
          <p:nvPr/>
        </p:nvCxnSpPr>
        <p:spPr>
          <a:xfrm>
            <a:off x="9356008" y="3765291"/>
            <a:ext cx="0" cy="2293913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38">
            <a:extLst>
              <a:ext uri="{FF2B5EF4-FFF2-40B4-BE49-F238E27FC236}">
                <a16:creationId xmlns:a16="http://schemas.microsoft.com/office/drawing/2014/main" id="{705A1D86-4AD4-A9B0-60F9-556A9A97A9F6}"/>
              </a:ext>
            </a:extLst>
          </p:cNvPr>
          <p:cNvCxnSpPr>
            <a:cxnSpLocks/>
          </p:cNvCxnSpPr>
          <p:nvPr/>
        </p:nvCxnSpPr>
        <p:spPr>
          <a:xfrm>
            <a:off x="10588803" y="3561273"/>
            <a:ext cx="0" cy="2502693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38EA4483-7DA1-8412-8A14-F4EF9898BF20}"/>
              </a:ext>
            </a:extLst>
          </p:cNvPr>
          <p:cNvSpPr txBox="1">
            <a:spLocks/>
          </p:cNvSpPr>
          <p:nvPr/>
        </p:nvSpPr>
        <p:spPr bwMode="gray">
          <a:xfrm>
            <a:off x="2062831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6A996B-D562-E85B-07C4-ADF70A57A09F}"/>
              </a:ext>
            </a:extLst>
          </p:cNvPr>
          <p:cNvSpPr txBox="1">
            <a:spLocks/>
          </p:cNvSpPr>
          <p:nvPr/>
        </p:nvSpPr>
        <p:spPr bwMode="gray">
          <a:xfrm>
            <a:off x="3293490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22A1848-D444-86E2-ED2F-EF84972F0095}"/>
              </a:ext>
            </a:extLst>
          </p:cNvPr>
          <p:cNvSpPr txBox="1">
            <a:spLocks/>
          </p:cNvSpPr>
          <p:nvPr/>
        </p:nvSpPr>
        <p:spPr bwMode="gray">
          <a:xfrm>
            <a:off x="4524150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71405FB7-BCD4-E73B-5511-353ECAA1BAB5}"/>
              </a:ext>
            </a:extLst>
          </p:cNvPr>
          <p:cNvSpPr txBox="1">
            <a:spLocks/>
          </p:cNvSpPr>
          <p:nvPr/>
        </p:nvSpPr>
        <p:spPr bwMode="gray">
          <a:xfrm>
            <a:off x="5754810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E8D98FF-DDD8-3A77-CDBA-B8D8587E87C6}"/>
              </a:ext>
            </a:extLst>
          </p:cNvPr>
          <p:cNvSpPr txBox="1">
            <a:spLocks/>
          </p:cNvSpPr>
          <p:nvPr/>
        </p:nvSpPr>
        <p:spPr bwMode="gray">
          <a:xfrm>
            <a:off x="6985471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5E0ED2D3-8255-110F-EDFD-E190953A53F2}"/>
              </a:ext>
            </a:extLst>
          </p:cNvPr>
          <p:cNvSpPr txBox="1">
            <a:spLocks/>
          </p:cNvSpPr>
          <p:nvPr/>
        </p:nvSpPr>
        <p:spPr bwMode="gray">
          <a:xfrm>
            <a:off x="8216131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7E5C62B4-AA93-97AA-DBDF-360CAED274F7}"/>
              </a:ext>
            </a:extLst>
          </p:cNvPr>
          <p:cNvSpPr txBox="1">
            <a:spLocks/>
          </p:cNvSpPr>
          <p:nvPr/>
        </p:nvSpPr>
        <p:spPr bwMode="gray">
          <a:xfrm>
            <a:off x="9446791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78F57AA1-817A-7B53-DC64-D0C905FE0E38}"/>
              </a:ext>
            </a:extLst>
          </p:cNvPr>
          <p:cNvSpPr txBox="1">
            <a:spLocks/>
          </p:cNvSpPr>
          <p:nvPr/>
        </p:nvSpPr>
        <p:spPr bwMode="gray">
          <a:xfrm>
            <a:off x="10677450" y="5202192"/>
            <a:ext cx="1052051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grpSp>
        <p:nvGrpSpPr>
          <p:cNvPr id="21" name="Gruppieren 70">
            <a:extLst>
              <a:ext uri="{FF2B5EF4-FFF2-40B4-BE49-F238E27FC236}">
                <a16:creationId xmlns:a16="http://schemas.microsoft.com/office/drawing/2014/main" id="{72F12D33-850C-E9F2-0E7F-A972F1BCA1E7}"/>
              </a:ext>
            </a:extLst>
          </p:cNvPr>
          <p:cNvGrpSpPr>
            <a:grpSpLocks/>
          </p:cNvGrpSpPr>
          <p:nvPr/>
        </p:nvGrpSpPr>
        <p:grpSpPr>
          <a:xfrm>
            <a:off x="10586424" y="2841259"/>
            <a:ext cx="1234101" cy="576582"/>
            <a:chOff x="9189621" y="2672474"/>
            <a:chExt cx="1015356" cy="576582"/>
          </a:xfrm>
        </p:grpSpPr>
        <p:sp>
          <p:nvSpPr>
            <p:cNvPr id="22" name="Freihandform: Form 7">
              <a:extLst>
                <a:ext uri="{FF2B5EF4-FFF2-40B4-BE49-F238E27FC236}">
                  <a16:creationId xmlns:a16="http://schemas.microsoft.com/office/drawing/2014/main" id="{8F55964F-A2AE-3AD7-1039-EDF93BF79FA5}"/>
                </a:ext>
              </a:extLst>
            </p:cNvPr>
            <p:cNvSpPr>
              <a:spLocks/>
            </p:cNvSpPr>
            <p:nvPr/>
          </p:nvSpPr>
          <p:spPr>
            <a:xfrm rot="16200000">
              <a:off x="8950664" y="2914839"/>
              <a:ext cx="573174" cy="9526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ihandform: Form 8">
              <a:extLst>
                <a:ext uri="{FF2B5EF4-FFF2-40B4-BE49-F238E27FC236}">
                  <a16:creationId xmlns:a16="http://schemas.microsoft.com/office/drawing/2014/main" id="{38B2FCB4-CD04-2129-5F49-71D425CA97B3}"/>
                </a:ext>
              </a:extLst>
            </p:cNvPr>
            <p:cNvSpPr>
              <a:spLocks/>
            </p:cNvSpPr>
            <p:nvPr/>
          </p:nvSpPr>
          <p:spPr>
            <a:xfrm rot="16200000">
              <a:off x="9430830" y="2474621"/>
              <a:ext cx="576293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4" name="Gruppieren 69">
            <a:extLst>
              <a:ext uri="{FF2B5EF4-FFF2-40B4-BE49-F238E27FC236}">
                <a16:creationId xmlns:a16="http://schemas.microsoft.com/office/drawing/2014/main" id="{2E9FC8FF-795D-6ABE-6249-963D4ABDB3CD}"/>
              </a:ext>
            </a:extLst>
          </p:cNvPr>
          <p:cNvGrpSpPr>
            <a:grpSpLocks/>
          </p:cNvGrpSpPr>
          <p:nvPr/>
        </p:nvGrpSpPr>
        <p:grpSpPr>
          <a:xfrm>
            <a:off x="9352083" y="2672899"/>
            <a:ext cx="1241465" cy="916247"/>
            <a:chOff x="8248743" y="2504114"/>
            <a:chExt cx="1021415" cy="916247"/>
          </a:xfrm>
        </p:grpSpPr>
        <p:sp>
          <p:nvSpPr>
            <p:cNvPr id="25" name="Freihandform: Form 10">
              <a:extLst>
                <a:ext uri="{FF2B5EF4-FFF2-40B4-BE49-F238E27FC236}">
                  <a16:creationId xmlns:a16="http://schemas.microsoft.com/office/drawing/2014/main" id="{E42973C7-3CB4-0991-151B-1308D56C027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841241" y="2912077"/>
              <a:ext cx="915786" cy="100782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6" name="Freihandform: Form 11">
              <a:extLst>
                <a:ext uri="{FF2B5EF4-FFF2-40B4-BE49-F238E27FC236}">
                  <a16:creationId xmlns:a16="http://schemas.microsoft.com/office/drawing/2014/main" id="{E677F299-8BAB-75D9-018A-0CD3578724B9}"/>
                </a:ext>
              </a:extLst>
            </p:cNvPr>
            <p:cNvSpPr>
              <a:spLocks/>
            </p:cNvSpPr>
            <p:nvPr/>
          </p:nvSpPr>
          <p:spPr>
            <a:xfrm rot="16200000">
              <a:off x="8326265" y="2476007"/>
              <a:ext cx="915786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7" name="Gruppieren 68">
            <a:extLst>
              <a:ext uri="{FF2B5EF4-FFF2-40B4-BE49-F238E27FC236}">
                <a16:creationId xmlns:a16="http://schemas.microsoft.com/office/drawing/2014/main" id="{24F3C774-BB2D-99F2-1DAE-053B91A14D47}"/>
              </a:ext>
            </a:extLst>
          </p:cNvPr>
          <p:cNvGrpSpPr>
            <a:grpSpLocks/>
          </p:cNvGrpSpPr>
          <p:nvPr/>
        </p:nvGrpSpPr>
        <p:grpSpPr>
          <a:xfrm>
            <a:off x="8110375" y="2496288"/>
            <a:ext cx="1263561" cy="1269927"/>
            <a:chOff x="7268428" y="2327503"/>
            <a:chExt cx="1039595" cy="1269927"/>
          </a:xfrm>
        </p:grpSpPr>
        <p:sp>
          <p:nvSpPr>
            <p:cNvPr id="28" name="Freihandform: Form 13">
              <a:extLst>
                <a:ext uri="{FF2B5EF4-FFF2-40B4-BE49-F238E27FC236}">
                  <a16:creationId xmlns:a16="http://schemas.microsoft.com/office/drawing/2014/main" id="{45BA00E1-7244-B96F-3273-1CAFC2B496D8}"/>
                </a:ext>
              </a:extLst>
            </p:cNvPr>
            <p:cNvSpPr>
              <a:spLocks/>
            </p:cNvSpPr>
            <p:nvPr/>
          </p:nvSpPr>
          <p:spPr>
            <a:xfrm rot="16200000">
              <a:off x="6703582" y="2892350"/>
              <a:ext cx="1269926" cy="140234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9" name="Freihandform: Form 14">
              <a:extLst>
                <a:ext uri="{FF2B5EF4-FFF2-40B4-BE49-F238E27FC236}">
                  <a16:creationId xmlns:a16="http://schemas.microsoft.com/office/drawing/2014/main" id="{E136E4EE-861D-7C31-5AD9-39B2E524A23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187521" y="2476005"/>
              <a:ext cx="1269003" cy="972000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0" name="Gruppieren 67">
            <a:extLst>
              <a:ext uri="{FF2B5EF4-FFF2-40B4-BE49-F238E27FC236}">
                <a16:creationId xmlns:a16="http://schemas.microsoft.com/office/drawing/2014/main" id="{7BA46BCF-D5BA-F670-FAF5-540847ACBC8B}"/>
              </a:ext>
            </a:extLst>
          </p:cNvPr>
          <p:cNvGrpSpPr>
            <a:grpSpLocks/>
          </p:cNvGrpSpPr>
          <p:nvPr/>
        </p:nvGrpSpPr>
        <p:grpSpPr>
          <a:xfrm>
            <a:off x="6863538" y="2317834"/>
            <a:ext cx="1295917" cy="1625453"/>
            <a:chOff x="6251843" y="2149049"/>
            <a:chExt cx="1066215" cy="1625453"/>
          </a:xfrm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CE084682-40A6-0196-9B81-724ACACB8C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6020024" y="2475083"/>
              <a:ext cx="1624068" cy="972000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3BC315C1-C6E7-E393-FF76-29174673FC9F}"/>
                </a:ext>
              </a:extLst>
            </p:cNvPr>
            <p:cNvSpPr>
              <a:spLocks/>
            </p:cNvSpPr>
            <p:nvPr/>
          </p:nvSpPr>
          <p:spPr>
            <a:xfrm rot="16200000">
              <a:off x="5529647" y="2872631"/>
              <a:ext cx="1624067" cy="179675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3" name="Gruppieren 66">
            <a:extLst>
              <a:ext uri="{FF2B5EF4-FFF2-40B4-BE49-F238E27FC236}">
                <a16:creationId xmlns:a16="http://schemas.microsoft.com/office/drawing/2014/main" id="{3F03F7C4-0060-C579-9550-2B6087AE4129}"/>
              </a:ext>
            </a:extLst>
          </p:cNvPr>
          <p:cNvGrpSpPr>
            <a:grpSpLocks/>
          </p:cNvGrpSpPr>
          <p:nvPr/>
        </p:nvGrpSpPr>
        <p:grpSpPr>
          <a:xfrm>
            <a:off x="5625482" y="2140761"/>
            <a:ext cx="1310709" cy="1979597"/>
            <a:chOff x="5194714" y="1971976"/>
            <a:chExt cx="1078385" cy="1979597"/>
          </a:xfrm>
        </p:grpSpPr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3166E56D-A003-7BD2-CB16-A328FB0CBD5A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15167" y="2852911"/>
              <a:ext cx="1978209" cy="219116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bg2">
                <a:lumMod val="90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5" name="Freihandform: Form 20">
              <a:extLst>
                <a:ext uri="{FF2B5EF4-FFF2-40B4-BE49-F238E27FC236}">
                  <a16:creationId xmlns:a16="http://schemas.microsoft.com/office/drawing/2014/main" id="{0593F815-111B-40DC-1384-CA97F88E4F8F}"/>
                </a:ext>
              </a:extLst>
            </p:cNvPr>
            <p:cNvSpPr>
              <a:spLocks/>
            </p:cNvSpPr>
            <p:nvPr/>
          </p:nvSpPr>
          <p:spPr>
            <a:xfrm rot="16200000">
              <a:off x="4797993" y="2475082"/>
              <a:ext cx="1978211" cy="972000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6" name="Gruppieren 65">
            <a:extLst>
              <a:ext uri="{FF2B5EF4-FFF2-40B4-BE49-F238E27FC236}">
                <a16:creationId xmlns:a16="http://schemas.microsoft.com/office/drawing/2014/main" id="{BBB84FA5-9CEB-4CB8-B663-7CC43A718D15}"/>
              </a:ext>
            </a:extLst>
          </p:cNvPr>
          <p:cNvGrpSpPr>
            <a:grpSpLocks/>
          </p:cNvGrpSpPr>
          <p:nvPr/>
        </p:nvGrpSpPr>
        <p:grpSpPr>
          <a:xfrm>
            <a:off x="4378843" y="1964157"/>
            <a:ext cx="1342666" cy="2332812"/>
            <a:chOff x="4101317" y="1795372"/>
            <a:chExt cx="1104678" cy="2332812"/>
          </a:xfrm>
        </p:grpSpPr>
        <p:sp>
          <p:nvSpPr>
            <p:cNvPr id="37" name="Freihandform: Form 22">
              <a:extLst>
                <a:ext uri="{FF2B5EF4-FFF2-40B4-BE49-F238E27FC236}">
                  <a16:creationId xmlns:a16="http://schemas.microsoft.com/office/drawing/2014/main" id="{C138335D-DCBE-1480-4A63-3B0EF693386A}"/>
                </a:ext>
              </a:extLst>
            </p:cNvPr>
            <p:cNvSpPr>
              <a:spLocks/>
            </p:cNvSpPr>
            <p:nvPr/>
          </p:nvSpPr>
          <p:spPr>
            <a:xfrm rot="16200000">
              <a:off x="3554279" y="2475088"/>
              <a:ext cx="2331432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8" name="Freihandform: Form 23">
              <a:extLst>
                <a:ext uri="{FF2B5EF4-FFF2-40B4-BE49-F238E27FC236}">
                  <a16:creationId xmlns:a16="http://schemas.microsoft.com/office/drawing/2014/main" id="{68860373-86A2-88E5-2CEA-35469D3CCD68}"/>
                </a:ext>
              </a:extLst>
            </p:cNvPr>
            <p:cNvSpPr>
              <a:spLocks/>
            </p:cNvSpPr>
            <p:nvPr/>
          </p:nvSpPr>
          <p:spPr>
            <a:xfrm rot="16200000">
              <a:off x="3064874" y="2833196"/>
              <a:ext cx="2331431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lumMod val="90000"/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9" name="Gruppieren 64">
            <a:extLst>
              <a:ext uri="{FF2B5EF4-FFF2-40B4-BE49-F238E27FC236}">
                <a16:creationId xmlns:a16="http://schemas.microsoft.com/office/drawing/2014/main" id="{B901E8AA-2FDD-6164-5C24-D0F76B759936}"/>
              </a:ext>
            </a:extLst>
          </p:cNvPr>
          <p:cNvGrpSpPr>
            <a:grpSpLocks/>
          </p:cNvGrpSpPr>
          <p:nvPr/>
        </p:nvGrpSpPr>
        <p:grpSpPr>
          <a:xfrm>
            <a:off x="3146253" y="1746042"/>
            <a:ext cx="1346525" cy="2768784"/>
            <a:chOff x="3001573" y="1577257"/>
            <a:chExt cx="1107853" cy="2768784"/>
          </a:xfrm>
        </p:grpSpPr>
        <p:sp>
          <p:nvSpPr>
            <p:cNvPr id="40" name="Freihandform: Form 25">
              <a:extLst>
                <a:ext uri="{FF2B5EF4-FFF2-40B4-BE49-F238E27FC236}">
                  <a16:creationId xmlns:a16="http://schemas.microsoft.com/office/drawing/2014/main" id="{564CA954-78FC-D8DE-F64C-E99E47188B51}"/>
                </a:ext>
              </a:extLst>
            </p:cNvPr>
            <p:cNvSpPr>
              <a:spLocks/>
            </p:cNvSpPr>
            <p:nvPr/>
          </p:nvSpPr>
          <p:spPr>
            <a:xfrm rot="16200000">
              <a:off x="2239853" y="2474830"/>
              <a:ext cx="2767145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41" name="Freihandform: Form 26">
              <a:extLst>
                <a:ext uri="{FF2B5EF4-FFF2-40B4-BE49-F238E27FC236}">
                  <a16:creationId xmlns:a16="http://schemas.microsoft.com/office/drawing/2014/main" id="{B8007466-1AB8-1C66-034B-CBB98693E74D}"/>
                </a:ext>
              </a:extLst>
            </p:cNvPr>
            <p:cNvSpPr>
              <a:spLocks/>
            </p:cNvSpPr>
            <p:nvPr/>
          </p:nvSpPr>
          <p:spPr>
            <a:xfrm rot="16200000">
              <a:off x="1747274" y="2833196"/>
              <a:ext cx="276714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49804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454545"/>
                </a:solidFill>
              </a:endParaRPr>
            </a:p>
          </p:txBody>
        </p:sp>
      </p:grpSp>
      <p:grpSp>
        <p:nvGrpSpPr>
          <p:cNvPr id="42" name="Gruppieren 63">
            <a:extLst>
              <a:ext uri="{FF2B5EF4-FFF2-40B4-BE49-F238E27FC236}">
                <a16:creationId xmlns:a16="http://schemas.microsoft.com/office/drawing/2014/main" id="{4F884038-CF6C-AA5A-169F-14AB73061C9E}"/>
              </a:ext>
            </a:extLst>
          </p:cNvPr>
          <p:cNvGrpSpPr>
            <a:grpSpLocks/>
          </p:cNvGrpSpPr>
          <p:nvPr/>
        </p:nvGrpSpPr>
        <p:grpSpPr>
          <a:xfrm>
            <a:off x="1915594" y="1527687"/>
            <a:ext cx="1346525" cy="3207134"/>
            <a:chOff x="1905002" y="1358902"/>
            <a:chExt cx="1107853" cy="3207134"/>
          </a:xfrm>
        </p:grpSpPr>
        <p:sp>
          <p:nvSpPr>
            <p:cNvPr id="43" name="Freihandform: Form 28">
              <a:extLst>
                <a:ext uri="{FF2B5EF4-FFF2-40B4-BE49-F238E27FC236}">
                  <a16:creationId xmlns:a16="http://schemas.microsoft.com/office/drawing/2014/main" id="{5B5C55BB-454D-B39E-3306-BE259B20B6C1}"/>
                </a:ext>
              </a:extLst>
            </p:cNvPr>
            <p:cNvSpPr>
              <a:spLocks/>
            </p:cNvSpPr>
            <p:nvPr/>
          </p:nvSpPr>
          <p:spPr>
            <a:xfrm rot="16200000">
              <a:off x="924855" y="2476137"/>
              <a:ext cx="3204000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45" name="Freihandform: Form 29">
              <a:extLst>
                <a:ext uri="{FF2B5EF4-FFF2-40B4-BE49-F238E27FC236}">
                  <a16:creationId xmlns:a16="http://schemas.microsoft.com/office/drawing/2014/main" id="{B9911518-357C-F23B-C808-FE6A9C37F70B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0708" y="2833196"/>
              <a:ext cx="320713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49804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46" name="Textfeld 114">
            <a:extLst>
              <a:ext uri="{FF2B5EF4-FFF2-40B4-BE49-F238E27FC236}">
                <a16:creationId xmlns:a16="http://schemas.microsoft.com/office/drawing/2014/main" id="{E3CC1D15-FE3B-138A-BF49-9283CEE45771}"/>
              </a:ext>
            </a:extLst>
          </p:cNvPr>
          <p:cNvSpPr txBox="1">
            <a:spLocks/>
          </p:cNvSpPr>
          <p:nvPr/>
        </p:nvSpPr>
        <p:spPr>
          <a:xfrm>
            <a:off x="9483437" y="3023531"/>
            <a:ext cx="109595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7</a:t>
            </a:r>
          </a:p>
        </p:txBody>
      </p:sp>
      <p:sp>
        <p:nvSpPr>
          <p:cNvPr id="47" name="Textfeld 114">
            <a:extLst>
              <a:ext uri="{FF2B5EF4-FFF2-40B4-BE49-F238E27FC236}">
                <a16:creationId xmlns:a16="http://schemas.microsoft.com/office/drawing/2014/main" id="{91BF6F1C-0819-FF78-FAD0-FF3586D2DE91}"/>
              </a:ext>
            </a:extLst>
          </p:cNvPr>
          <p:cNvSpPr txBox="1">
            <a:spLocks/>
          </p:cNvSpPr>
          <p:nvPr/>
        </p:nvSpPr>
        <p:spPr>
          <a:xfrm>
            <a:off x="8294863" y="3023531"/>
            <a:ext cx="1088241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6</a:t>
            </a:r>
          </a:p>
        </p:txBody>
      </p:sp>
      <p:sp>
        <p:nvSpPr>
          <p:cNvPr id="48" name="Textfeld 114">
            <a:extLst>
              <a:ext uri="{FF2B5EF4-FFF2-40B4-BE49-F238E27FC236}">
                <a16:creationId xmlns:a16="http://schemas.microsoft.com/office/drawing/2014/main" id="{5A5DBEEA-E090-7AC4-CC48-3B91A7282964}"/>
              </a:ext>
            </a:extLst>
          </p:cNvPr>
          <p:cNvSpPr txBox="1">
            <a:spLocks/>
          </p:cNvSpPr>
          <p:nvPr/>
        </p:nvSpPr>
        <p:spPr>
          <a:xfrm>
            <a:off x="7098568" y="3023531"/>
            <a:ext cx="106508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5</a:t>
            </a:r>
          </a:p>
        </p:txBody>
      </p:sp>
      <p:sp>
        <p:nvSpPr>
          <p:cNvPr id="49" name="Textfeld 114">
            <a:extLst>
              <a:ext uri="{FF2B5EF4-FFF2-40B4-BE49-F238E27FC236}">
                <a16:creationId xmlns:a16="http://schemas.microsoft.com/office/drawing/2014/main" id="{29E8A236-C099-F780-F91E-8CF72DBFD5F0}"/>
              </a:ext>
            </a:extLst>
          </p:cNvPr>
          <p:cNvSpPr txBox="1">
            <a:spLocks/>
          </p:cNvSpPr>
          <p:nvPr/>
        </p:nvSpPr>
        <p:spPr>
          <a:xfrm>
            <a:off x="5879122" y="3023531"/>
            <a:ext cx="105736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cs typeface="Helvetica" panose="020B0604020202020204" pitchFamily="34" charset="0"/>
              </a:rPr>
              <a:t>04</a:t>
            </a:r>
          </a:p>
        </p:txBody>
      </p:sp>
      <p:sp>
        <p:nvSpPr>
          <p:cNvPr id="50" name="Textfeld 114">
            <a:extLst>
              <a:ext uri="{FF2B5EF4-FFF2-40B4-BE49-F238E27FC236}">
                <a16:creationId xmlns:a16="http://schemas.microsoft.com/office/drawing/2014/main" id="{8D068AA1-931D-E889-C669-E870EE04DCD8}"/>
              </a:ext>
            </a:extLst>
          </p:cNvPr>
          <p:cNvSpPr txBox="1">
            <a:spLocks/>
          </p:cNvSpPr>
          <p:nvPr/>
        </p:nvSpPr>
        <p:spPr>
          <a:xfrm>
            <a:off x="4682827" y="3023531"/>
            <a:ext cx="1057369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cs typeface="Helvetica" panose="020B0604020202020204" pitchFamily="34" charset="0"/>
              </a:rPr>
              <a:t>03</a:t>
            </a:r>
          </a:p>
        </p:txBody>
      </p:sp>
      <p:sp>
        <p:nvSpPr>
          <p:cNvPr id="51" name="Textfeld 114">
            <a:extLst>
              <a:ext uri="{FF2B5EF4-FFF2-40B4-BE49-F238E27FC236}">
                <a16:creationId xmlns:a16="http://schemas.microsoft.com/office/drawing/2014/main" id="{F21ADDAF-CE0F-7648-0BC8-96C6575B3EF1}"/>
              </a:ext>
            </a:extLst>
          </p:cNvPr>
          <p:cNvSpPr txBox="1">
            <a:spLocks/>
          </p:cNvSpPr>
          <p:nvPr/>
        </p:nvSpPr>
        <p:spPr>
          <a:xfrm>
            <a:off x="3471100" y="3023531"/>
            <a:ext cx="1008979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cs typeface="Helvetica" panose="020B0604020202020204" pitchFamily="34" charset="0"/>
              </a:rPr>
              <a:t>02</a:t>
            </a:r>
          </a:p>
        </p:txBody>
      </p:sp>
      <p:sp>
        <p:nvSpPr>
          <p:cNvPr id="52" name="Textfeld 114">
            <a:extLst>
              <a:ext uri="{FF2B5EF4-FFF2-40B4-BE49-F238E27FC236}">
                <a16:creationId xmlns:a16="http://schemas.microsoft.com/office/drawing/2014/main" id="{1EB50F20-0631-2466-2744-2A1A38D82672}"/>
              </a:ext>
            </a:extLst>
          </p:cNvPr>
          <p:cNvSpPr txBox="1">
            <a:spLocks/>
          </p:cNvSpPr>
          <p:nvPr/>
        </p:nvSpPr>
        <p:spPr>
          <a:xfrm>
            <a:off x="2236215" y="3023531"/>
            <a:ext cx="1018780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cs typeface="Helvetica" panose="020B0604020202020204" pitchFamily="34" charset="0"/>
              </a:rPr>
              <a:t>01</a:t>
            </a:r>
          </a:p>
        </p:txBody>
      </p:sp>
      <p:sp>
        <p:nvSpPr>
          <p:cNvPr id="53" name="Textfeld 114">
            <a:extLst>
              <a:ext uri="{FF2B5EF4-FFF2-40B4-BE49-F238E27FC236}">
                <a16:creationId xmlns:a16="http://schemas.microsoft.com/office/drawing/2014/main" id="{6E96110B-F883-2F34-8C66-B7C9F86221FA}"/>
              </a:ext>
            </a:extLst>
          </p:cNvPr>
          <p:cNvSpPr txBox="1">
            <a:spLocks/>
          </p:cNvSpPr>
          <p:nvPr/>
        </p:nvSpPr>
        <p:spPr>
          <a:xfrm>
            <a:off x="10712532" y="3023531"/>
            <a:ext cx="1099819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8</a:t>
            </a:r>
          </a:p>
        </p:txBody>
      </p:sp>
      <p:sp>
        <p:nvSpPr>
          <p:cNvPr id="54" name="Textplatzhalter 9">
            <a:extLst>
              <a:ext uri="{FF2B5EF4-FFF2-40B4-BE49-F238E27FC236}">
                <a16:creationId xmlns:a16="http://schemas.microsoft.com/office/drawing/2014/main" id="{645E7596-9C45-941E-5C8A-9E4C7967F88E}"/>
              </a:ext>
            </a:extLst>
          </p:cNvPr>
          <p:cNvSpPr txBox="1">
            <a:spLocks/>
          </p:cNvSpPr>
          <p:nvPr/>
        </p:nvSpPr>
        <p:spPr bwMode="gray">
          <a:xfrm>
            <a:off x="402658" y="2738839"/>
            <a:ext cx="1292529" cy="78483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/>
              <a:t>Insert your desired text here</a:t>
            </a:r>
          </a:p>
        </p:txBody>
      </p:sp>
      <p:sp>
        <p:nvSpPr>
          <p:cNvPr id="55" name="Gleichschenkliges Dreieck 39">
            <a:extLst>
              <a:ext uri="{FF2B5EF4-FFF2-40B4-BE49-F238E27FC236}">
                <a16:creationId xmlns:a16="http://schemas.microsoft.com/office/drawing/2014/main" id="{69C57AB1-39C5-10F1-ED10-E54931A538E3}"/>
              </a:ext>
            </a:extLst>
          </p:cNvPr>
          <p:cNvSpPr>
            <a:spLocks/>
          </p:cNvSpPr>
          <p:nvPr/>
        </p:nvSpPr>
        <p:spPr>
          <a:xfrm rot="5400000">
            <a:off x="1803692" y="3071101"/>
            <a:ext cx="240570" cy="12031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4545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713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88F4D2-5F0E-4E2B-A8E7-8A2C2AC553B9}">
  <ds:schemaRefs>
    <ds:schemaRef ds:uri="http://schemas.microsoft.com/office/2006/metadata/properties"/>
    <ds:schemaRef ds:uri="http://schemas.microsoft.com/office/infopath/2007/PartnerControls"/>
    <ds:schemaRef ds:uri="40b3a238-e851-4bda-be3d-1ed623dfc157"/>
    <ds:schemaRef ds:uri="4bd4d397-a849-4111-8caa-2cd1909bb285"/>
  </ds:schemaRefs>
</ds:datastoreItem>
</file>

<file path=customXml/itemProps2.xml><?xml version="1.0" encoding="utf-8"?>
<ds:datastoreItem xmlns:ds="http://schemas.openxmlformats.org/officeDocument/2006/customXml" ds:itemID="{7568E905-BBBE-4878-B7F7-52E01C6A64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3C83B1-5503-4B06-80DD-E7AD984F93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3a238-e851-4bda-be3d-1ed623dfc157"/>
    <ds:schemaRef ds:uri="4bd4d397-a849-4111-8caa-2cd1909bb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trices, SWOT Analyses</Template>
  <TotalTime>0</TotalTime>
  <Words>420</Words>
  <Application>Microsoft Office PowerPoint</Application>
  <PresentationFormat>Widescreen</PresentationFormat>
  <Paragraphs>8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Futura</vt:lpstr>
      <vt:lpstr>Helvetica</vt:lpstr>
      <vt:lpstr>Symbol</vt:lpstr>
      <vt:lpstr>1_think-cell 2025</vt:lpstr>
      <vt:lpstr>think-cell Slide</vt:lpstr>
      <vt:lpstr>Funnel chart templates</vt:lpstr>
      <vt:lpstr>You can use think-cell to update your funnel chart template in seconds</vt:lpstr>
      <vt:lpstr>Funnel, illustrative, four phases</vt:lpstr>
      <vt:lpstr>Funnel, detailed, six phases</vt:lpstr>
      <vt:lpstr>Funnel, illustrative, horizontal, eight pha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revision>1</cp:revision>
  <dcterms:created xsi:type="dcterms:W3CDTF">2025-10-09T16:04:21Z</dcterms:created>
  <dcterms:modified xsi:type="dcterms:W3CDTF">2025-10-10T09:4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